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5.xml" ContentType="application/vnd.openxmlformats-officedocument.drawingml.chartshape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drawings/drawing6.xml" ContentType="application/vnd.openxmlformats-officedocument.drawingml.chartshapes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drawings/drawing7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drawings/drawing8.xml" ContentType="application/vnd.openxmlformats-officedocument.drawingml.chartshapes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drawings/drawing9.xml" ContentType="application/vnd.openxmlformats-officedocument.drawingml.chartshape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6">
  <p:sldMasterIdLst>
    <p:sldMasterId id="2147483660" r:id="rId4"/>
    <p:sldMasterId id="2147483673" r:id="rId5"/>
  </p:sldMasterIdLst>
  <p:notesMasterIdLst>
    <p:notesMasterId r:id="rId16"/>
  </p:notesMasterIdLst>
  <p:sldIdLst>
    <p:sldId id="2766" r:id="rId6"/>
    <p:sldId id="4098" r:id="rId7"/>
    <p:sldId id="575" r:id="rId8"/>
    <p:sldId id="9106" r:id="rId9"/>
    <p:sldId id="4095" r:id="rId10"/>
    <p:sldId id="2828" r:id="rId11"/>
    <p:sldId id="2826" r:id="rId12"/>
    <p:sldId id="2773" r:id="rId13"/>
    <p:sldId id="2820" r:id="rId14"/>
    <p:sldId id="4096" r:id="rId15"/>
  </p:sldIdLst>
  <p:sldSz cx="9144000" cy="6858000" type="screen4x3"/>
  <p:notesSz cx="7023100" cy="93091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aso, Esa A:(ComEd)" initials="PEA" lastIdx="17" clrIdx="0">
    <p:extLst>
      <p:ext uri="{19B8F6BF-5375-455C-9EA6-DF929625EA0E}">
        <p15:presenceInfo xmlns:p15="http://schemas.microsoft.com/office/powerpoint/2012/main" userId="S-1-5-21-2290681792-2343282785-285435603-201552" providerId="AD"/>
      </p:ext>
    </p:extLst>
  </p:cmAuthor>
  <p:cmAuthor id="2" name="MAIGHA, FNU:(ComEd)" initials="MF" lastIdx="3" clrIdx="1">
    <p:extLst>
      <p:ext uri="{19B8F6BF-5375-455C-9EA6-DF929625EA0E}">
        <p15:presenceInfo xmlns:p15="http://schemas.microsoft.com/office/powerpoint/2012/main" userId="S-1-5-21-2290681792-2343282785-285435603-537699" providerId="AD"/>
      </p:ext>
    </p:extLst>
  </p:cmAuthor>
  <p:cmAuthor id="3" name="McDonagh, Margaret J:(ComEd)" initials="MMJ" lastIdx="0" clrIdx="2">
    <p:extLst>
      <p:ext uri="{19B8F6BF-5375-455C-9EA6-DF929625EA0E}">
        <p15:presenceInfo xmlns:p15="http://schemas.microsoft.com/office/powerpoint/2012/main" userId="S-1-5-21-2290681792-2343282785-285435603-57643" providerId="AD"/>
      </p:ext>
    </p:extLst>
  </p:cmAuthor>
  <p:cmAuthor id="4" name="Fein, David I:(BSC)" initials="FDI" lastIdx="3" clrIdx="3">
    <p:extLst>
      <p:ext uri="{19B8F6BF-5375-455C-9EA6-DF929625EA0E}">
        <p15:presenceInfo xmlns:p15="http://schemas.microsoft.com/office/powerpoint/2012/main" userId="S-1-5-21-2290681792-2343282785-285435603-332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400"/>
    <a:srgbClr val="F5F5F5"/>
    <a:srgbClr val="880000"/>
    <a:srgbClr val="3333FF"/>
    <a:srgbClr val="FBFBFB"/>
    <a:srgbClr val="500000"/>
    <a:srgbClr val="400000"/>
    <a:srgbClr val="2F1111"/>
    <a:srgbClr val="200000"/>
    <a:srgbClr val="872D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35FCA5C-FDF7-4A2A-8B79-3C8A20618BA3}" v="47" dt="2020-05-26T20:37:37.1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658" autoAdjust="0"/>
    <p:restoredTop sz="94003" autoAdjust="0"/>
  </p:normalViewPr>
  <p:slideViewPr>
    <p:cSldViewPr>
      <p:cViewPr varScale="1">
        <p:scale>
          <a:sx n="57" d="100"/>
          <a:sy n="57" d="100"/>
        </p:scale>
        <p:origin x="1326" y="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114" y="23785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ichtman, Max D:(ComEd)" userId="39bc20a0-1de9-42f5-9fef-f5ea4ab2e47b" providerId="ADAL" clId="{B35FCA5C-FDF7-4A2A-8B79-3C8A20618BA3}"/>
    <pc:docChg chg="custSel addSld delSld modSld">
      <pc:chgData name="Leichtman, Max D:(ComEd)" userId="39bc20a0-1de9-42f5-9fef-f5ea4ab2e47b" providerId="ADAL" clId="{B35FCA5C-FDF7-4A2A-8B79-3C8A20618BA3}" dt="2020-05-26T20:37:37.149" v="239"/>
      <pc:docMkLst>
        <pc:docMk/>
      </pc:docMkLst>
      <pc:sldChg chg="addSp delSp modSp">
        <pc:chgData name="Leichtman, Max D:(ComEd)" userId="39bc20a0-1de9-42f5-9fef-f5ea4ab2e47b" providerId="ADAL" clId="{B35FCA5C-FDF7-4A2A-8B79-3C8A20618BA3}" dt="2020-05-26T19:35:13.327" v="98"/>
        <pc:sldMkLst>
          <pc:docMk/>
          <pc:sldMk cId="4239673321" sldId="575"/>
        </pc:sldMkLst>
        <pc:spChg chg="del">
          <ac:chgData name="Leichtman, Max D:(ComEd)" userId="39bc20a0-1de9-42f5-9fef-f5ea4ab2e47b" providerId="ADAL" clId="{B35FCA5C-FDF7-4A2A-8B79-3C8A20618BA3}" dt="2020-05-26T19:34:45.915" v="82" actId="478"/>
          <ac:spMkLst>
            <pc:docMk/>
            <pc:sldMk cId="4239673321" sldId="575"/>
            <ac:spMk id="2" creationId="{00000000-0000-0000-0000-000000000000}"/>
          </ac:spMkLst>
        </pc:spChg>
        <pc:spChg chg="del mod">
          <ac:chgData name="Leichtman, Max D:(ComEd)" userId="39bc20a0-1de9-42f5-9fef-f5ea4ab2e47b" providerId="ADAL" clId="{B35FCA5C-FDF7-4A2A-8B79-3C8A20618BA3}" dt="2020-05-26T19:34:47.783" v="86" actId="478"/>
          <ac:spMkLst>
            <pc:docMk/>
            <pc:sldMk cId="4239673321" sldId="575"/>
            <ac:spMk id="3" creationId="{00000000-0000-0000-0000-000000000000}"/>
          </ac:spMkLst>
        </pc:spChg>
        <pc:spChg chg="del mod">
          <ac:chgData name="Leichtman, Max D:(ComEd)" userId="39bc20a0-1de9-42f5-9fef-f5ea4ab2e47b" providerId="ADAL" clId="{B35FCA5C-FDF7-4A2A-8B79-3C8A20618BA3}" dt="2020-05-26T19:35:02.677" v="97" actId="478"/>
          <ac:spMkLst>
            <pc:docMk/>
            <pc:sldMk cId="4239673321" sldId="575"/>
            <ac:spMk id="9" creationId="{00000000-0000-0000-0000-000000000000}"/>
          </ac:spMkLst>
        </pc:spChg>
        <pc:spChg chg="add del mod">
          <ac:chgData name="Leichtman, Max D:(ComEd)" userId="39bc20a0-1de9-42f5-9fef-f5ea4ab2e47b" providerId="ADAL" clId="{B35FCA5C-FDF7-4A2A-8B79-3C8A20618BA3}" dt="2020-05-26T19:34:49.513" v="87" actId="478"/>
          <ac:spMkLst>
            <pc:docMk/>
            <pc:sldMk cId="4239673321" sldId="575"/>
            <ac:spMk id="14" creationId="{42BFB32A-2B2B-4C10-A1B9-23072F8CA289}"/>
          </ac:spMkLst>
        </pc:spChg>
        <pc:spChg chg="add del mod">
          <ac:chgData name="Leichtman, Max D:(ComEd)" userId="39bc20a0-1de9-42f5-9fef-f5ea4ab2e47b" providerId="ADAL" clId="{B35FCA5C-FDF7-4A2A-8B79-3C8A20618BA3}" dt="2020-05-26T19:34:51.026" v="90" actId="478"/>
          <ac:spMkLst>
            <pc:docMk/>
            <pc:sldMk cId="4239673321" sldId="575"/>
            <ac:spMk id="16" creationId="{2D924501-278A-4BA1-B50C-09CF7D2FD9F3}"/>
          </ac:spMkLst>
        </pc:spChg>
        <pc:spChg chg="del mod">
          <ac:chgData name="Leichtman, Max D:(ComEd)" userId="39bc20a0-1de9-42f5-9fef-f5ea4ab2e47b" providerId="ADAL" clId="{B35FCA5C-FDF7-4A2A-8B79-3C8A20618BA3}" dt="2020-05-26T19:34:59.974" v="95" actId="478"/>
          <ac:spMkLst>
            <pc:docMk/>
            <pc:sldMk cId="4239673321" sldId="575"/>
            <ac:spMk id="25" creationId="{00000000-0000-0000-0000-000000000000}"/>
          </ac:spMkLst>
        </pc:spChg>
        <pc:spChg chg="add">
          <ac:chgData name="Leichtman, Max D:(ComEd)" userId="39bc20a0-1de9-42f5-9fef-f5ea4ab2e47b" providerId="ADAL" clId="{B35FCA5C-FDF7-4A2A-8B79-3C8A20618BA3}" dt="2020-05-26T19:35:13.327" v="98"/>
          <ac:spMkLst>
            <pc:docMk/>
            <pc:sldMk cId="4239673321" sldId="575"/>
            <ac:spMk id="26" creationId="{55A491B2-C7E2-4495-9A50-A0B1AEA3718F}"/>
          </ac:spMkLst>
        </pc:spChg>
        <pc:spChg chg="add">
          <ac:chgData name="Leichtman, Max D:(ComEd)" userId="39bc20a0-1de9-42f5-9fef-f5ea4ab2e47b" providerId="ADAL" clId="{B35FCA5C-FDF7-4A2A-8B79-3C8A20618BA3}" dt="2020-05-26T19:35:13.327" v="98"/>
          <ac:spMkLst>
            <pc:docMk/>
            <pc:sldMk cId="4239673321" sldId="575"/>
            <ac:spMk id="28" creationId="{402BDE55-EBA5-414F-BE52-93517607F985}"/>
          </ac:spMkLst>
        </pc:spChg>
        <pc:spChg chg="add">
          <ac:chgData name="Leichtman, Max D:(ComEd)" userId="39bc20a0-1de9-42f5-9fef-f5ea4ab2e47b" providerId="ADAL" clId="{B35FCA5C-FDF7-4A2A-8B79-3C8A20618BA3}" dt="2020-05-26T19:35:13.327" v="98"/>
          <ac:spMkLst>
            <pc:docMk/>
            <pc:sldMk cId="4239673321" sldId="575"/>
            <ac:spMk id="29" creationId="{28BDD205-714D-455F-8981-4BCF476D101B}"/>
          </ac:spMkLst>
        </pc:spChg>
        <pc:spChg chg="add">
          <ac:chgData name="Leichtman, Max D:(ComEd)" userId="39bc20a0-1de9-42f5-9fef-f5ea4ab2e47b" providerId="ADAL" clId="{B35FCA5C-FDF7-4A2A-8B79-3C8A20618BA3}" dt="2020-05-26T19:35:13.327" v="98"/>
          <ac:spMkLst>
            <pc:docMk/>
            <pc:sldMk cId="4239673321" sldId="575"/>
            <ac:spMk id="31" creationId="{BB931E3C-3ABC-43B3-8DD7-D8CEACBECC50}"/>
          </ac:spMkLst>
        </pc:spChg>
        <pc:grpChg chg="del">
          <ac:chgData name="Leichtman, Max D:(ComEd)" userId="39bc20a0-1de9-42f5-9fef-f5ea4ab2e47b" providerId="ADAL" clId="{B35FCA5C-FDF7-4A2A-8B79-3C8A20618BA3}" dt="2020-05-26T19:34:54.020" v="92" actId="478"/>
          <ac:grpSpMkLst>
            <pc:docMk/>
            <pc:sldMk cId="4239673321" sldId="575"/>
            <ac:grpSpMk id="8" creationId="{00000000-0000-0000-0000-000000000000}"/>
          </ac:grpSpMkLst>
        </pc:grpChg>
        <pc:graphicFrameChg chg="mod">
          <ac:chgData name="Leichtman, Max D:(ComEd)" userId="39bc20a0-1de9-42f5-9fef-f5ea4ab2e47b" providerId="ADAL" clId="{B35FCA5C-FDF7-4A2A-8B79-3C8A20618BA3}" dt="2020-05-26T19:34:50.051" v="89"/>
          <ac:graphicFrameMkLst>
            <pc:docMk/>
            <pc:sldMk cId="4239673321" sldId="575"/>
            <ac:graphicFrameMk id="10" creationId="{BDE79342-EC01-4847-BC09-DFBBD19F0D40}"/>
          </ac:graphicFrameMkLst>
        </pc:graphicFrameChg>
        <pc:graphicFrameChg chg="del">
          <ac:chgData name="Leichtman, Max D:(ComEd)" userId="39bc20a0-1de9-42f5-9fef-f5ea4ab2e47b" providerId="ADAL" clId="{B35FCA5C-FDF7-4A2A-8B79-3C8A20618BA3}" dt="2020-05-26T19:34:52.726" v="91" actId="478"/>
          <ac:graphicFrameMkLst>
            <pc:docMk/>
            <pc:sldMk cId="4239673321" sldId="575"/>
            <ac:graphicFrameMk id="20" creationId="{00000000-0000-0000-0000-000000000000}"/>
          </ac:graphicFrameMkLst>
        </pc:graphicFrameChg>
        <pc:picChg chg="add">
          <ac:chgData name="Leichtman, Max D:(ComEd)" userId="39bc20a0-1de9-42f5-9fef-f5ea4ab2e47b" providerId="ADAL" clId="{B35FCA5C-FDF7-4A2A-8B79-3C8A20618BA3}" dt="2020-05-26T19:35:13.327" v="98"/>
          <ac:picMkLst>
            <pc:docMk/>
            <pc:sldMk cId="4239673321" sldId="575"/>
            <ac:picMk id="27" creationId="{F81DA1B6-6416-41FE-B56F-3F86994B6876}"/>
          </ac:picMkLst>
        </pc:picChg>
        <pc:picChg chg="add">
          <ac:chgData name="Leichtman, Max D:(ComEd)" userId="39bc20a0-1de9-42f5-9fef-f5ea4ab2e47b" providerId="ADAL" clId="{B35FCA5C-FDF7-4A2A-8B79-3C8A20618BA3}" dt="2020-05-26T19:35:13.327" v="98"/>
          <ac:picMkLst>
            <pc:docMk/>
            <pc:sldMk cId="4239673321" sldId="575"/>
            <ac:picMk id="30" creationId="{A30349E9-7052-44D5-AABB-66F977B25143}"/>
          </ac:picMkLst>
        </pc:picChg>
        <pc:picChg chg="add">
          <ac:chgData name="Leichtman, Max D:(ComEd)" userId="39bc20a0-1de9-42f5-9fef-f5ea4ab2e47b" providerId="ADAL" clId="{B35FCA5C-FDF7-4A2A-8B79-3C8A20618BA3}" dt="2020-05-26T19:35:13.327" v="98"/>
          <ac:picMkLst>
            <pc:docMk/>
            <pc:sldMk cId="4239673321" sldId="575"/>
            <ac:picMk id="32" creationId="{8D963795-AAAE-4E5A-B555-B6AF61675D82}"/>
          </ac:picMkLst>
        </pc:picChg>
        <pc:cxnChg chg="mod">
          <ac:chgData name="Leichtman, Max D:(ComEd)" userId="39bc20a0-1de9-42f5-9fef-f5ea4ab2e47b" providerId="ADAL" clId="{B35FCA5C-FDF7-4A2A-8B79-3C8A20618BA3}" dt="2020-05-26T19:34:54.020" v="92" actId="478"/>
          <ac:cxnSpMkLst>
            <pc:docMk/>
            <pc:sldMk cId="4239673321" sldId="575"/>
            <ac:cxnSpMk id="7" creationId="{00000000-0000-0000-0000-000000000000}"/>
          </ac:cxnSpMkLst>
        </pc:cxnChg>
        <pc:cxnChg chg="del">
          <ac:chgData name="Leichtman, Max D:(ComEd)" userId="39bc20a0-1de9-42f5-9fef-f5ea4ab2e47b" providerId="ADAL" clId="{B35FCA5C-FDF7-4A2A-8B79-3C8A20618BA3}" dt="2020-05-26T19:34:55.564" v="93" actId="478"/>
          <ac:cxnSpMkLst>
            <pc:docMk/>
            <pc:sldMk cId="4239673321" sldId="575"/>
            <ac:cxnSpMk id="22" creationId="{00000000-0000-0000-0000-000000000000}"/>
          </ac:cxnSpMkLst>
        </pc:cxnChg>
      </pc:sldChg>
      <pc:sldChg chg="modSp">
        <pc:chgData name="Leichtman, Max D:(ComEd)" userId="39bc20a0-1de9-42f5-9fef-f5ea4ab2e47b" providerId="ADAL" clId="{B35FCA5C-FDF7-4A2A-8B79-3C8A20618BA3}" dt="2020-05-26T19:33:54.092" v="79"/>
        <pc:sldMkLst>
          <pc:docMk/>
          <pc:sldMk cId="95220563" sldId="2766"/>
        </pc:sldMkLst>
        <pc:spChg chg="mod">
          <ac:chgData name="Leichtman, Max D:(ComEd)" userId="39bc20a0-1de9-42f5-9fef-f5ea4ab2e47b" providerId="ADAL" clId="{B35FCA5C-FDF7-4A2A-8B79-3C8A20618BA3}" dt="2020-05-26T19:33:53.319" v="45" actId="20577"/>
          <ac:spMkLst>
            <pc:docMk/>
            <pc:sldMk cId="95220563" sldId="2766"/>
            <ac:spMk id="2" creationId="{00000000-0000-0000-0000-000000000000}"/>
          </ac:spMkLst>
        </pc:spChg>
        <pc:spChg chg="mod">
          <ac:chgData name="Leichtman, Max D:(ComEd)" userId="39bc20a0-1de9-42f5-9fef-f5ea4ab2e47b" providerId="ADAL" clId="{B35FCA5C-FDF7-4A2A-8B79-3C8A20618BA3}" dt="2020-05-26T19:33:54.077" v="77" actId="6549"/>
          <ac:spMkLst>
            <pc:docMk/>
            <pc:sldMk cId="95220563" sldId="2766"/>
            <ac:spMk id="3" creationId="{BC742793-B8C8-4BDC-B3A8-1B3C8108AB64}"/>
          </ac:spMkLst>
        </pc:spChg>
        <pc:graphicFrameChg chg="mod">
          <ac:chgData name="Leichtman, Max D:(ComEd)" userId="39bc20a0-1de9-42f5-9fef-f5ea4ab2e47b" providerId="ADAL" clId="{B35FCA5C-FDF7-4A2A-8B79-3C8A20618BA3}" dt="2020-05-26T19:33:54.092" v="79"/>
          <ac:graphicFrameMkLst>
            <pc:docMk/>
            <pc:sldMk cId="95220563" sldId="2766"/>
            <ac:graphicFrameMk id="4" creationId="{E9B1C080-AD8C-4E38-B400-8096A4C1DCA5}"/>
          </ac:graphicFrameMkLst>
        </pc:graphicFrameChg>
      </pc:sldChg>
      <pc:sldChg chg="delSp modSp">
        <pc:chgData name="Leichtman, Max D:(ComEd)" userId="39bc20a0-1de9-42f5-9fef-f5ea4ab2e47b" providerId="ADAL" clId="{B35FCA5C-FDF7-4A2A-8B79-3C8A20618BA3}" dt="2020-05-26T20:36:04.981" v="149" actId="478"/>
        <pc:sldMkLst>
          <pc:docMk/>
          <pc:sldMk cId="3783143837" sldId="2773"/>
        </pc:sldMkLst>
        <pc:spChg chg="mod">
          <ac:chgData name="Leichtman, Max D:(ComEd)" userId="39bc20a0-1de9-42f5-9fef-f5ea4ab2e47b" providerId="ADAL" clId="{B35FCA5C-FDF7-4A2A-8B79-3C8A20618BA3}" dt="2020-05-26T19:36:01.408" v="106" actId="20577"/>
          <ac:spMkLst>
            <pc:docMk/>
            <pc:sldMk cId="3783143837" sldId="2773"/>
            <ac:spMk id="13" creationId="{DFB0C9A9-6F2D-4A3C-B0FC-9B6BC06932DC}"/>
          </ac:spMkLst>
        </pc:spChg>
        <pc:spChg chg="del">
          <ac:chgData name="Leichtman, Max D:(ComEd)" userId="39bc20a0-1de9-42f5-9fef-f5ea4ab2e47b" providerId="ADAL" clId="{B35FCA5C-FDF7-4A2A-8B79-3C8A20618BA3}" dt="2020-05-26T20:36:04.981" v="149" actId="478"/>
          <ac:spMkLst>
            <pc:docMk/>
            <pc:sldMk cId="3783143837" sldId="2773"/>
            <ac:spMk id="15" creationId="{B6E8B995-4197-43BE-9DE7-602B8FB34671}"/>
          </ac:spMkLst>
        </pc:spChg>
      </pc:sldChg>
      <pc:sldChg chg="delSp modSp">
        <pc:chgData name="Leichtman, Max D:(ComEd)" userId="39bc20a0-1de9-42f5-9fef-f5ea4ab2e47b" providerId="ADAL" clId="{B35FCA5C-FDF7-4A2A-8B79-3C8A20618BA3}" dt="2020-05-26T20:36:13.114" v="150" actId="478"/>
        <pc:sldMkLst>
          <pc:docMk/>
          <pc:sldMk cId="4005843926" sldId="2820"/>
        </pc:sldMkLst>
        <pc:spChg chg="mod">
          <ac:chgData name="Leichtman, Max D:(ComEd)" userId="39bc20a0-1de9-42f5-9fef-f5ea4ab2e47b" providerId="ADAL" clId="{B35FCA5C-FDF7-4A2A-8B79-3C8A20618BA3}" dt="2020-05-26T19:36:06.910" v="108" actId="20577"/>
          <ac:spMkLst>
            <pc:docMk/>
            <pc:sldMk cId="4005843926" sldId="2820"/>
            <ac:spMk id="16" creationId="{E9BD388A-32FC-4E33-B577-960745657B92}"/>
          </ac:spMkLst>
        </pc:spChg>
        <pc:spChg chg="del">
          <ac:chgData name="Leichtman, Max D:(ComEd)" userId="39bc20a0-1de9-42f5-9fef-f5ea4ab2e47b" providerId="ADAL" clId="{B35FCA5C-FDF7-4A2A-8B79-3C8A20618BA3}" dt="2020-05-26T20:36:13.114" v="150" actId="478"/>
          <ac:spMkLst>
            <pc:docMk/>
            <pc:sldMk cId="4005843926" sldId="2820"/>
            <ac:spMk id="17" creationId="{F73E229F-C8C7-423B-A511-49A9573311A0}"/>
          </ac:spMkLst>
        </pc:spChg>
      </pc:sldChg>
      <pc:sldChg chg="delSp modSp">
        <pc:chgData name="Leichtman, Max D:(ComEd)" userId="39bc20a0-1de9-42f5-9fef-f5ea4ab2e47b" providerId="ADAL" clId="{B35FCA5C-FDF7-4A2A-8B79-3C8A20618BA3}" dt="2020-05-26T20:36:01.834" v="148" actId="478"/>
        <pc:sldMkLst>
          <pc:docMk/>
          <pc:sldMk cId="3378753303" sldId="2826"/>
        </pc:sldMkLst>
        <pc:spChg chg="mod">
          <ac:chgData name="Leichtman, Max D:(ComEd)" userId="39bc20a0-1de9-42f5-9fef-f5ea4ab2e47b" providerId="ADAL" clId="{B35FCA5C-FDF7-4A2A-8B79-3C8A20618BA3}" dt="2020-05-26T19:35:55.404" v="104" actId="20577"/>
          <ac:spMkLst>
            <pc:docMk/>
            <pc:sldMk cId="3378753303" sldId="2826"/>
            <ac:spMk id="15" creationId="{18CE3F79-9867-4C56-AEAE-34DB256A8CDB}"/>
          </ac:spMkLst>
        </pc:spChg>
        <pc:spChg chg="del">
          <ac:chgData name="Leichtman, Max D:(ComEd)" userId="39bc20a0-1de9-42f5-9fef-f5ea4ab2e47b" providerId="ADAL" clId="{B35FCA5C-FDF7-4A2A-8B79-3C8A20618BA3}" dt="2020-05-26T20:36:01.834" v="148" actId="478"/>
          <ac:spMkLst>
            <pc:docMk/>
            <pc:sldMk cId="3378753303" sldId="2826"/>
            <ac:spMk id="32" creationId="{446F9954-2E69-4FDE-B84C-03E0E7C361DB}"/>
          </ac:spMkLst>
        </pc:spChg>
      </pc:sldChg>
      <pc:sldChg chg="delSp modSp">
        <pc:chgData name="Leichtman, Max D:(ComEd)" userId="39bc20a0-1de9-42f5-9fef-f5ea4ab2e47b" providerId="ADAL" clId="{B35FCA5C-FDF7-4A2A-8B79-3C8A20618BA3}" dt="2020-05-26T19:47:48.299" v="147" actId="478"/>
        <pc:sldMkLst>
          <pc:docMk/>
          <pc:sldMk cId="807413352" sldId="2828"/>
        </pc:sldMkLst>
        <pc:spChg chg="mod">
          <ac:chgData name="Leichtman, Max D:(ComEd)" userId="39bc20a0-1de9-42f5-9fef-f5ea4ab2e47b" providerId="ADAL" clId="{B35FCA5C-FDF7-4A2A-8B79-3C8A20618BA3}" dt="2020-05-26T19:35:47.161" v="102" actId="20577"/>
          <ac:spMkLst>
            <pc:docMk/>
            <pc:sldMk cId="807413352" sldId="2828"/>
            <ac:spMk id="5" creationId="{653F0D03-3F0F-4A76-ABE5-390F4C123033}"/>
          </ac:spMkLst>
        </pc:spChg>
        <pc:spChg chg="del">
          <ac:chgData name="Leichtman, Max D:(ComEd)" userId="39bc20a0-1de9-42f5-9fef-f5ea4ab2e47b" providerId="ADAL" clId="{B35FCA5C-FDF7-4A2A-8B79-3C8A20618BA3}" dt="2020-05-26T19:47:48.299" v="147" actId="478"/>
          <ac:spMkLst>
            <pc:docMk/>
            <pc:sldMk cId="807413352" sldId="2828"/>
            <ac:spMk id="16" creationId="{21FDDC13-AACC-495A-B7A0-2477D46486E5}"/>
          </ac:spMkLst>
        </pc:spChg>
      </pc:sldChg>
      <pc:sldChg chg="modSp">
        <pc:chgData name="Leichtman, Max D:(ComEd)" userId="39bc20a0-1de9-42f5-9fef-f5ea4ab2e47b" providerId="ADAL" clId="{B35FCA5C-FDF7-4A2A-8B79-3C8A20618BA3}" dt="2020-05-26T19:38:28.061" v="146" actId="20577"/>
        <pc:sldMkLst>
          <pc:docMk/>
          <pc:sldMk cId="806219347" sldId="4095"/>
        </pc:sldMkLst>
        <pc:spChg chg="mod">
          <ac:chgData name="Leichtman, Max D:(ComEd)" userId="39bc20a0-1de9-42f5-9fef-f5ea4ab2e47b" providerId="ADAL" clId="{B35FCA5C-FDF7-4A2A-8B79-3C8A20618BA3}" dt="2020-05-26T19:38:15.122" v="143" actId="1035"/>
          <ac:spMkLst>
            <pc:docMk/>
            <pc:sldMk cId="806219347" sldId="4095"/>
            <ac:spMk id="2" creationId="{00000000-0000-0000-0000-000000000000}"/>
          </ac:spMkLst>
        </pc:spChg>
        <pc:spChg chg="mod">
          <ac:chgData name="Leichtman, Max D:(ComEd)" userId="39bc20a0-1de9-42f5-9fef-f5ea4ab2e47b" providerId="ADAL" clId="{B35FCA5C-FDF7-4A2A-8B79-3C8A20618BA3}" dt="2020-05-26T19:38:13.087" v="134" actId="6549"/>
          <ac:spMkLst>
            <pc:docMk/>
            <pc:sldMk cId="806219347" sldId="4095"/>
            <ac:spMk id="7" creationId="{C05623C1-283C-4DF0-8CCA-7350F1553E73}"/>
          </ac:spMkLst>
        </pc:spChg>
        <pc:spChg chg="mod">
          <ac:chgData name="Leichtman, Max D:(ComEd)" userId="39bc20a0-1de9-42f5-9fef-f5ea4ab2e47b" providerId="ADAL" clId="{B35FCA5C-FDF7-4A2A-8B79-3C8A20618BA3}" dt="2020-05-26T19:36:18.747" v="112" actId="1038"/>
          <ac:spMkLst>
            <pc:docMk/>
            <pc:sldMk cId="806219347" sldId="4095"/>
            <ac:spMk id="12" creationId="{00000000-0000-0000-0000-000000000000}"/>
          </ac:spMkLst>
        </pc:spChg>
        <pc:spChg chg="mod">
          <ac:chgData name="Leichtman, Max D:(ComEd)" userId="39bc20a0-1de9-42f5-9fef-f5ea4ab2e47b" providerId="ADAL" clId="{B35FCA5C-FDF7-4A2A-8B79-3C8A20618BA3}" dt="2020-05-26T19:38:28.061" v="146" actId="20577"/>
          <ac:spMkLst>
            <pc:docMk/>
            <pc:sldMk cId="806219347" sldId="4095"/>
            <ac:spMk id="23" creationId="{00000000-0000-0000-0000-000000000000}"/>
          </ac:spMkLst>
        </pc:spChg>
        <pc:graphicFrameChg chg="mod">
          <ac:chgData name="Leichtman, Max D:(ComEd)" userId="39bc20a0-1de9-42f5-9fef-f5ea4ab2e47b" providerId="ADAL" clId="{B35FCA5C-FDF7-4A2A-8B79-3C8A20618BA3}" dt="2020-05-26T19:38:16.065" v="145"/>
          <ac:graphicFrameMkLst>
            <pc:docMk/>
            <pc:sldMk cId="806219347" sldId="4095"/>
            <ac:graphicFrameMk id="8" creationId="{27ED0713-EAA8-4A0B-9B1B-E11BC2859F26}"/>
          </ac:graphicFrameMkLst>
        </pc:graphicFrameChg>
      </pc:sldChg>
      <pc:sldChg chg="addSp modSp">
        <pc:chgData name="Leichtman, Max D:(ComEd)" userId="39bc20a0-1de9-42f5-9fef-f5ea4ab2e47b" providerId="ADAL" clId="{B35FCA5C-FDF7-4A2A-8B79-3C8A20618BA3}" dt="2020-05-26T20:37:37.149" v="239"/>
        <pc:sldMkLst>
          <pc:docMk/>
          <pc:sldMk cId="3784173253" sldId="4096"/>
        </pc:sldMkLst>
        <pc:spChg chg="mod ord">
          <ac:chgData name="Leichtman, Max D:(ComEd)" userId="39bc20a0-1de9-42f5-9fef-f5ea4ab2e47b" providerId="ADAL" clId="{B35FCA5C-FDF7-4A2A-8B79-3C8A20618BA3}" dt="2020-05-26T20:37:36.242" v="237" actId="1036"/>
          <ac:spMkLst>
            <pc:docMk/>
            <pc:sldMk cId="3784173253" sldId="4096"/>
            <ac:spMk id="2" creationId="{6B199736-F38C-490D-AEB2-B2595299EE6B}"/>
          </ac:spMkLst>
        </pc:spChg>
        <pc:spChg chg="add mod ord modVis">
          <ac:chgData name="Leichtman, Max D:(ComEd)" userId="39bc20a0-1de9-42f5-9fef-f5ea4ab2e47b" providerId="ADAL" clId="{B35FCA5C-FDF7-4A2A-8B79-3C8A20618BA3}" dt="2020-05-26T20:37:24.923" v="230" actId="6549"/>
          <ac:spMkLst>
            <pc:docMk/>
            <pc:sldMk cId="3784173253" sldId="4096"/>
            <ac:spMk id="3" creationId="{7E9B1E71-765E-436C-AF4A-D7F61BFA6299}"/>
          </ac:spMkLst>
        </pc:spChg>
        <pc:spChg chg="mod ord">
          <ac:chgData name="Leichtman, Max D:(ComEd)" userId="39bc20a0-1de9-42f5-9fef-f5ea4ab2e47b" providerId="ADAL" clId="{B35FCA5C-FDF7-4A2A-8B79-3C8A20618BA3}" dt="2020-05-26T20:37:22.391" v="187"/>
          <ac:spMkLst>
            <pc:docMk/>
            <pc:sldMk cId="3784173253" sldId="4096"/>
            <ac:spMk id="4" creationId="{43498681-1DE4-4F4A-A110-D56E8524CF20}"/>
          </ac:spMkLst>
        </pc:spChg>
        <pc:spChg chg="mod ord">
          <ac:chgData name="Leichtman, Max D:(ComEd)" userId="39bc20a0-1de9-42f5-9fef-f5ea4ab2e47b" providerId="ADAL" clId="{B35FCA5C-FDF7-4A2A-8B79-3C8A20618BA3}" dt="2020-05-26T20:37:22.392" v="189"/>
          <ac:spMkLst>
            <pc:docMk/>
            <pc:sldMk cId="3784173253" sldId="4096"/>
            <ac:spMk id="5" creationId="{ED68B432-C390-4C16-9977-7EBEBC7A9E32}"/>
          </ac:spMkLst>
        </pc:spChg>
        <pc:graphicFrameChg chg="add mod ord modVis">
          <ac:chgData name="Leichtman, Max D:(ComEd)" userId="39bc20a0-1de9-42f5-9fef-f5ea4ab2e47b" providerId="ADAL" clId="{B35FCA5C-FDF7-4A2A-8B79-3C8A20618BA3}" dt="2020-05-26T20:37:37.149" v="239"/>
          <ac:graphicFrameMkLst>
            <pc:docMk/>
            <pc:sldMk cId="3784173253" sldId="4096"/>
            <ac:graphicFrameMk id="6" creationId="{38E0512E-274B-43D2-96F8-7D3AA5C4D9A0}"/>
          </ac:graphicFrameMkLst>
        </pc:graphicFrameChg>
      </pc:sldChg>
      <pc:sldChg chg="modSp">
        <pc:chgData name="Leichtman, Max D:(ComEd)" userId="39bc20a0-1de9-42f5-9fef-f5ea4ab2e47b" providerId="ADAL" clId="{B35FCA5C-FDF7-4A2A-8B79-3C8A20618BA3}" dt="2020-05-26T19:33:58.882" v="80" actId="20577"/>
        <pc:sldMkLst>
          <pc:docMk/>
          <pc:sldMk cId="3618845857" sldId="4098"/>
        </pc:sldMkLst>
        <pc:spChg chg="mod">
          <ac:chgData name="Leichtman, Max D:(ComEd)" userId="39bc20a0-1de9-42f5-9fef-f5ea4ab2e47b" providerId="ADAL" clId="{B35FCA5C-FDF7-4A2A-8B79-3C8A20618BA3}" dt="2020-05-26T19:33:58.882" v="80" actId="20577"/>
          <ac:spMkLst>
            <pc:docMk/>
            <pc:sldMk cId="3618845857" sldId="4098"/>
            <ac:spMk id="177" creationId="{106CD3B4-9988-46D1-B173-2888AA05E630}"/>
          </ac:spMkLst>
        </pc:spChg>
      </pc:sldChg>
      <pc:sldChg chg="delSp modSp del">
        <pc:chgData name="Leichtman, Max D:(ComEd)" userId="39bc20a0-1de9-42f5-9fef-f5ea4ab2e47b" providerId="ADAL" clId="{B35FCA5C-FDF7-4A2A-8B79-3C8A20618BA3}" dt="2020-05-26T19:35:21.437" v="99" actId="2696"/>
        <pc:sldMkLst>
          <pc:docMk/>
          <pc:sldMk cId="2331802121" sldId="9105"/>
        </pc:sldMkLst>
        <pc:spChg chg="mod">
          <ac:chgData name="Leichtman, Max D:(ComEd)" userId="39bc20a0-1de9-42f5-9fef-f5ea4ab2e47b" providerId="ADAL" clId="{B35FCA5C-FDF7-4A2A-8B79-3C8A20618BA3}" dt="2020-05-26T18:19:31.122" v="19" actId="1076"/>
          <ac:spMkLst>
            <pc:docMk/>
            <pc:sldMk cId="2331802121" sldId="9105"/>
            <ac:spMk id="2" creationId="{1294BF7A-9C3F-46DD-B5F1-9E7B691490A7}"/>
          </ac:spMkLst>
        </pc:spChg>
        <pc:spChg chg="mod">
          <ac:chgData name="Leichtman, Max D:(ComEd)" userId="39bc20a0-1de9-42f5-9fef-f5ea4ab2e47b" providerId="ADAL" clId="{B35FCA5C-FDF7-4A2A-8B79-3C8A20618BA3}" dt="2020-05-26T18:19:37.795" v="20" actId="1038"/>
          <ac:spMkLst>
            <pc:docMk/>
            <pc:sldMk cId="2331802121" sldId="9105"/>
            <ac:spMk id="3" creationId="{148B8252-8347-48C8-BCE7-32E4796205AD}"/>
          </ac:spMkLst>
        </pc:spChg>
        <pc:spChg chg="mod">
          <ac:chgData name="Leichtman, Max D:(ComEd)" userId="39bc20a0-1de9-42f5-9fef-f5ea4ab2e47b" providerId="ADAL" clId="{B35FCA5C-FDF7-4A2A-8B79-3C8A20618BA3}" dt="2020-05-26T18:19:38.371" v="41" actId="6549"/>
          <ac:spMkLst>
            <pc:docMk/>
            <pc:sldMk cId="2331802121" sldId="9105"/>
            <ac:spMk id="5" creationId="{8B732A02-7792-4E67-8469-125D5B069380}"/>
          </ac:spMkLst>
        </pc:spChg>
        <pc:spChg chg="del">
          <ac:chgData name="Leichtman, Max D:(ComEd)" userId="39bc20a0-1de9-42f5-9fef-f5ea4ab2e47b" providerId="ADAL" clId="{B35FCA5C-FDF7-4A2A-8B79-3C8A20618BA3}" dt="2020-05-26T18:16:05.084" v="0" actId="478"/>
          <ac:spMkLst>
            <pc:docMk/>
            <pc:sldMk cId="2331802121" sldId="9105"/>
            <ac:spMk id="7" creationId="{402CC704-52D0-1C40-A273-F8DFD29748BC}"/>
          </ac:spMkLst>
        </pc:spChg>
        <pc:spChg chg="del">
          <ac:chgData name="Leichtman, Max D:(ComEd)" userId="39bc20a0-1de9-42f5-9fef-f5ea4ab2e47b" providerId="ADAL" clId="{B35FCA5C-FDF7-4A2A-8B79-3C8A20618BA3}" dt="2020-05-26T18:16:05.084" v="0" actId="478"/>
          <ac:spMkLst>
            <pc:docMk/>
            <pc:sldMk cId="2331802121" sldId="9105"/>
            <ac:spMk id="13" creationId="{6708950C-5CBA-45BF-9C61-F619B15F3F4D}"/>
          </ac:spMkLst>
        </pc:spChg>
        <pc:spChg chg="mod">
          <ac:chgData name="Leichtman, Max D:(ComEd)" userId="39bc20a0-1de9-42f5-9fef-f5ea4ab2e47b" providerId="ADAL" clId="{B35FCA5C-FDF7-4A2A-8B79-3C8A20618BA3}" dt="2020-05-26T18:19:21.274" v="17" actId="1076"/>
          <ac:spMkLst>
            <pc:docMk/>
            <pc:sldMk cId="2331802121" sldId="9105"/>
            <ac:spMk id="18" creationId="{97ED945E-DF27-E947-8A34-1F4DAC218C60}"/>
          </ac:spMkLst>
        </pc:spChg>
        <pc:spChg chg="mod">
          <ac:chgData name="Leichtman, Max D:(ComEd)" userId="39bc20a0-1de9-42f5-9fef-f5ea4ab2e47b" providerId="ADAL" clId="{B35FCA5C-FDF7-4A2A-8B79-3C8A20618BA3}" dt="2020-05-26T18:19:25.032" v="18" actId="1076"/>
          <ac:spMkLst>
            <pc:docMk/>
            <pc:sldMk cId="2331802121" sldId="9105"/>
            <ac:spMk id="19" creationId="{3CB751A6-52BB-774B-8B0E-AB71C2E54603}"/>
          </ac:spMkLst>
        </pc:spChg>
        <pc:graphicFrameChg chg="mod">
          <ac:chgData name="Leichtman, Max D:(ComEd)" userId="39bc20a0-1de9-42f5-9fef-f5ea4ab2e47b" providerId="ADAL" clId="{B35FCA5C-FDF7-4A2A-8B79-3C8A20618BA3}" dt="2020-05-26T18:19:38.384" v="43"/>
          <ac:graphicFrameMkLst>
            <pc:docMk/>
            <pc:sldMk cId="2331802121" sldId="9105"/>
            <ac:graphicFrameMk id="6" creationId="{C2B7C34F-201B-4F53-90E4-86557249B020}"/>
          </ac:graphicFrameMkLst>
        </pc:graphicFrameChg>
        <pc:picChg chg="mod">
          <ac:chgData name="Leichtman, Max D:(ComEd)" userId="39bc20a0-1de9-42f5-9fef-f5ea4ab2e47b" providerId="ADAL" clId="{B35FCA5C-FDF7-4A2A-8B79-3C8A20618BA3}" dt="2020-05-26T18:16:45.565" v="8" actId="1076"/>
          <ac:picMkLst>
            <pc:docMk/>
            <pc:sldMk cId="2331802121" sldId="9105"/>
            <ac:picMk id="4" creationId="{340AC7A8-23A7-4C0A-B780-64E227423763}"/>
          </ac:picMkLst>
        </pc:picChg>
        <pc:picChg chg="mod">
          <ac:chgData name="Leichtman, Max D:(ComEd)" userId="39bc20a0-1de9-42f5-9fef-f5ea4ab2e47b" providerId="ADAL" clId="{B35FCA5C-FDF7-4A2A-8B79-3C8A20618BA3}" dt="2020-05-26T18:19:13.719" v="14" actId="1076"/>
          <ac:picMkLst>
            <pc:docMk/>
            <pc:sldMk cId="2331802121" sldId="9105"/>
            <ac:picMk id="12" creationId="{CF9A8522-1DC9-8045-B7AD-257D7A71639E}"/>
          </ac:picMkLst>
        </pc:picChg>
        <pc:picChg chg="mod">
          <ac:chgData name="Leichtman, Max D:(ComEd)" userId="39bc20a0-1de9-42f5-9fef-f5ea4ab2e47b" providerId="ADAL" clId="{B35FCA5C-FDF7-4A2A-8B79-3C8A20618BA3}" dt="2020-05-26T18:19:18.697" v="16" actId="14100"/>
          <ac:picMkLst>
            <pc:docMk/>
            <pc:sldMk cId="2331802121" sldId="9105"/>
            <ac:picMk id="17" creationId="{97845746-A66A-5F4F-BDB1-97A271D811AE}"/>
          </ac:picMkLst>
        </pc:picChg>
        <pc:picChg chg="del">
          <ac:chgData name="Leichtman, Max D:(ComEd)" userId="39bc20a0-1de9-42f5-9fef-f5ea4ab2e47b" providerId="ADAL" clId="{B35FCA5C-FDF7-4A2A-8B79-3C8A20618BA3}" dt="2020-05-26T18:16:07.284" v="1" actId="478"/>
          <ac:picMkLst>
            <pc:docMk/>
            <pc:sldMk cId="2331802121" sldId="9105"/>
            <ac:picMk id="4098" creationId="{89241CB7-77BF-42E3-9E68-95F5E54C1F5E}"/>
          </ac:picMkLst>
        </pc:picChg>
      </pc:sldChg>
      <pc:sldChg chg="add">
        <pc:chgData name="Leichtman, Max D:(ComEd)" userId="39bc20a0-1de9-42f5-9fef-f5ea4ab2e47b" providerId="ADAL" clId="{B35FCA5C-FDF7-4A2A-8B79-3C8A20618BA3}" dt="2020-05-26T19:34:30.637" v="81"/>
        <pc:sldMkLst>
          <pc:docMk/>
          <pc:sldMk cId="4260622583" sldId="9106"/>
        </pc:sldMkLst>
      </pc:sldChg>
      <pc:sldMasterChg chg="delSldLayout">
        <pc:chgData name="Leichtman, Max D:(ComEd)" userId="39bc20a0-1de9-42f5-9fef-f5ea4ab2e47b" providerId="ADAL" clId="{B35FCA5C-FDF7-4A2A-8B79-3C8A20618BA3}" dt="2020-05-26T19:35:21.442" v="100" actId="2696"/>
        <pc:sldMasterMkLst>
          <pc:docMk/>
          <pc:sldMasterMk cId="411613095" sldId="2147483660"/>
        </pc:sldMasterMkLst>
        <pc:sldLayoutChg chg="del">
          <pc:chgData name="Leichtman, Max D:(ComEd)" userId="39bc20a0-1de9-42f5-9fef-f5ea4ab2e47b" providerId="ADAL" clId="{B35FCA5C-FDF7-4A2A-8B79-3C8A20618BA3}" dt="2020-05-26T19:35:21.442" v="100" actId="2696"/>
          <pc:sldLayoutMkLst>
            <pc:docMk/>
            <pc:sldMasterMk cId="411613095" sldId="2147483660"/>
            <pc:sldLayoutMk cId="1023320096" sldId="2147483679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chartUserShapes" Target="../drawings/drawing6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Relationship Id="rId4" Type="http://schemas.openxmlformats.org/officeDocument/2006/relationships/chartUserShapes" Target="../drawings/drawing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Relationship Id="rId4" Type="http://schemas.openxmlformats.org/officeDocument/2006/relationships/chartUserShapes" Target="../drawings/drawing8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Relationship Id="rId4" Type="http://schemas.openxmlformats.org/officeDocument/2006/relationships/chartUserShapes" Target="../drawings/drawing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Illinois CO</a:t>
            </a:r>
            <a:r>
              <a:rPr lang="en-US" baseline="-25000" dirty="0"/>
              <a:t>2</a:t>
            </a:r>
            <a:r>
              <a:rPr lang="en-US" dirty="0"/>
              <a:t> Emissions</a:t>
            </a:r>
            <a:r>
              <a:rPr lang="en-US" baseline="0" dirty="0"/>
              <a:t> (All Sectors) (</a:t>
            </a:r>
            <a:r>
              <a:rPr lang="en-US" baseline="0" dirty="0" err="1"/>
              <a:t>MMmt</a:t>
            </a:r>
            <a:r>
              <a:rPr lang="en-US" baseline="0" dirty="0"/>
              <a:t>)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*</c:v>
                </c:pt>
                <c:pt idx="4">
                  <c:v>202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42.5</c:v>
                </c:pt>
                <c:pt idx="1">
                  <c:v>230.8</c:v>
                </c:pt>
                <c:pt idx="2">
                  <c:v>215.9</c:v>
                </c:pt>
                <c:pt idx="3">
                  <c:v>1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F6-431A-A4DC-B02FECB4C6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1"/>
                </a:solidFill>
                <a:prstDash val="dash"/>
              </a:ln>
              <a:effectLst/>
            </c:spPr>
          </c:marker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C1F6-431A-A4DC-B02FECB4C69E}"/>
              </c:ext>
            </c:extLst>
          </c:dPt>
          <c:dPt>
            <c:idx val="4"/>
            <c:marker>
              <c:symbol val="circle"/>
              <c:size val="12"/>
              <c:spPr>
                <a:solidFill>
                  <a:srgbClr val="00B050"/>
                </a:solidFill>
                <a:ln w="9525">
                  <a:solidFill>
                    <a:schemeClr val="accent1"/>
                  </a:solidFill>
                  <a:prstDash val="dash"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1F6-431A-A4DC-B02FECB4C69E}"/>
              </c:ext>
            </c:extLst>
          </c:dPt>
          <c:cat>
            <c:strRef>
              <c:f>Sheet1!$A$2:$A$6</c:f>
              <c:strCach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*</c:v>
                </c:pt>
                <c:pt idx="4">
                  <c:v>2025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3">
                  <c:v>190</c:v>
                </c:pt>
                <c:pt idx="4">
                  <c:v>18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1F6-431A-A4DC-B02FECB4C6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*</c:v>
                </c:pt>
                <c:pt idx="4">
                  <c:v>2025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1F6-431A-A4DC-B02FECB4C6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3102104"/>
        <c:axId val="513102888"/>
      </c:lineChart>
      <c:catAx>
        <c:axId val="513102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3102888"/>
        <c:crosses val="autoZero"/>
        <c:auto val="1"/>
        <c:lblAlgn val="ctr"/>
        <c:lblOffset val="100"/>
        <c:noMultiLvlLbl val="0"/>
      </c:catAx>
      <c:valAx>
        <c:axId val="513102888"/>
        <c:scaling>
          <c:orientation val="minMax"/>
          <c:max val="250"/>
          <c:min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3102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300" b="0" i="0" baseline="0" dirty="0">
                <a:effectLst/>
              </a:rPr>
              <a:t>ComEd Zone Hourly MW for April Week </a:t>
            </a:r>
          </a:p>
          <a:p>
            <a:pPr>
              <a:defRPr/>
            </a:pPr>
            <a:r>
              <a:rPr lang="en-US" sz="1300" b="0" i="0" baseline="0" dirty="0">
                <a:effectLst/>
              </a:rPr>
              <a:t>99% Zero-Emission Load</a:t>
            </a:r>
            <a:endParaRPr lang="en-US" sz="1300" dirty="0">
              <a:effectLst/>
            </a:endParaRPr>
          </a:p>
        </c:rich>
      </c:tx>
      <c:layout>
        <c:manualLayout>
          <c:xMode val="edge"/>
          <c:yMode val="edge"/>
          <c:x val="0.15735474650211523"/>
          <c:y val="2.77613589862863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B$2:$B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0-0183-4251-B43D-E377475EA9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88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1-0183-4251-B43D-E377475EA9C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0183-4251-B43D-E377475EA9C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0183-4251-B43D-E377475EA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5066448"/>
        <c:axId val="465066840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Load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F$2:$F$169</c:f>
              <c:numCache>
                <c:formatCode>#,##0</c:formatCode>
                <c:ptCount val="168"/>
                <c:pt idx="0">
                  <c:v>9220</c:v>
                </c:pt>
                <c:pt idx="1">
                  <c:v>8981</c:v>
                </c:pt>
                <c:pt idx="2">
                  <c:v>8838</c:v>
                </c:pt>
                <c:pt idx="3">
                  <c:v>8815</c:v>
                </c:pt>
                <c:pt idx="4">
                  <c:v>9070</c:v>
                </c:pt>
                <c:pt idx="5">
                  <c:v>9726</c:v>
                </c:pt>
                <c:pt idx="6">
                  <c:v>10639</c:v>
                </c:pt>
                <c:pt idx="7">
                  <c:v>11146</c:v>
                </c:pt>
                <c:pt idx="8">
                  <c:v>11287</c:v>
                </c:pt>
                <c:pt idx="9">
                  <c:v>11332</c:v>
                </c:pt>
                <c:pt idx="10">
                  <c:v>11211</c:v>
                </c:pt>
                <c:pt idx="11">
                  <c:v>11030</c:v>
                </c:pt>
                <c:pt idx="12">
                  <c:v>10965</c:v>
                </c:pt>
                <c:pt idx="13">
                  <c:v>10875</c:v>
                </c:pt>
                <c:pt idx="14">
                  <c:v>10682</c:v>
                </c:pt>
                <c:pt idx="15">
                  <c:v>10538</c:v>
                </c:pt>
                <c:pt idx="16">
                  <c:v>10464</c:v>
                </c:pt>
                <c:pt idx="17">
                  <c:v>10428</c:v>
                </c:pt>
                <c:pt idx="18">
                  <c:v>10376</c:v>
                </c:pt>
                <c:pt idx="19">
                  <c:v>10645</c:v>
                </c:pt>
                <c:pt idx="20">
                  <c:v>10620</c:v>
                </c:pt>
                <c:pt idx="21">
                  <c:v>10200</c:v>
                </c:pt>
                <c:pt idx="22">
                  <c:v>9576</c:v>
                </c:pt>
                <c:pt idx="23">
                  <c:v>9038</c:v>
                </c:pt>
                <c:pt idx="24">
                  <c:v>8618</c:v>
                </c:pt>
                <c:pt idx="25">
                  <c:v>8382</c:v>
                </c:pt>
                <c:pt idx="26">
                  <c:v>8223</c:v>
                </c:pt>
                <c:pt idx="27">
                  <c:v>8170</c:v>
                </c:pt>
                <c:pt idx="28">
                  <c:v>8417</c:v>
                </c:pt>
                <c:pt idx="29">
                  <c:v>9076</c:v>
                </c:pt>
                <c:pt idx="30">
                  <c:v>10026</c:v>
                </c:pt>
                <c:pt idx="31">
                  <c:v>10608</c:v>
                </c:pt>
                <c:pt idx="32">
                  <c:v>10703</c:v>
                </c:pt>
                <c:pt idx="33">
                  <c:v>10776</c:v>
                </c:pt>
                <c:pt idx="34">
                  <c:v>10840</c:v>
                </c:pt>
                <c:pt idx="35">
                  <c:v>10748</c:v>
                </c:pt>
                <c:pt idx="36">
                  <c:v>10669</c:v>
                </c:pt>
                <c:pt idx="37">
                  <c:v>10634</c:v>
                </c:pt>
                <c:pt idx="38">
                  <c:v>10490</c:v>
                </c:pt>
                <c:pt idx="39">
                  <c:v>10350</c:v>
                </c:pt>
                <c:pt idx="40">
                  <c:v>10313</c:v>
                </c:pt>
                <c:pt idx="41">
                  <c:v>10248</c:v>
                </c:pt>
                <c:pt idx="42">
                  <c:v>10170</c:v>
                </c:pt>
                <c:pt idx="43">
                  <c:v>10353</c:v>
                </c:pt>
                <c:pt idx="44">
                  <c:v>10474</c:v>
                </c:pt>
                <c:pt idx="45">
                  <c:v>10194</c:v>
                </c:pt>
                <c:pt idx="46">
                  <c:v>9684</c:v>
                </c:pt>
                <c:pt idx="47">
                  <c:v>9187</c:v>
                </c:pt>
                <c:pt idx="48">
                  <c:v>8802</c:v>
                </c:pt>
                <c:pt idx="49">
                  <c:v>8585</c:v>
                </c:pt>
                <c:pt idx="50">
                  <c:v>8449</c:v>
                </c:pt>
                <c:pt idx="51">
                  <c:v>8415</c:v>
                </c:pt>
                <c:pt idx="52">
                  <c:v>8500</c:v>
                </c:pt>
                <c:pt idx="53">
                  <c:v>8789</c:v>
                </c:pt>
                <c:pt idx="54">
                  <c:v>9047</c:v>
                </c:pt>
                <c:pt idx="55">
                  <c:v>9302</c:v>
                </c:pt>
                <c:pt idx="56">
                  <c:v>9492</c:v>
                </c:pt>
                <c:pt idx="57">
                  <c:v>9579</c:v>
                </c:pt>
                <c:pt idx="58">
                  <c:v>9554</c:v>
                </c:pt>
                <c:pt idx="59">
                  <c:v>9468</c:v>
                </c:pt>
                <c:pt idx="60">
                  <c:v>9298</c:v>
                </c:pt>
                <c:pt idx="61">
                  <c:v>9075</c:v>
                </c:pt>
                <c:pt idx="62">
                  <c:v>8918</c:v>
                </c:pt>
                <c:pt idx="63">
                  <c:v>8743</c:v>
                </c:pt>
                <c:pt idx="64">
                  <c:v>8716</c:v>
                </c:pt>
                <c:pt idx="65">
                  <c:v>8702</c:v>
                </c:pt>
                <c:pt idx="66">
                  <c:v>8738</c:v>
                </c:pt>
                <c:pt idx="67">
                  <c:v>9059</c:v>
                </c:pt>
                <c:pt idx="68">
                  <c:v>9353</c:v>
                </c:pt>
                <c:pt idx="69">
                  <c:v>9238</c:v>
                </c:pt>
                <c:pt idx="70">
                  <c:v>8954</c:v>
                </c:pt>
                <c:pt idx="71">
                  <c:v>8561</c:v>
                </c:pt>
                <c:pt idx="72">
                  <c:v>8311</c:v>
                </c:pt>
                <c:pt idx="73">
                  <c:v>8126</c:v>
                </c:pt>
                <c:pt idx="74">
                  <c:v>7995</c:v>
                </c:pt>
                <c:pt idx="75">
                  <c:v>8005</c:v>
                </c:pt>
                <c:pt idx="76">
                  <c:v>8072</c:v>
                </c:pt>
                <c:pt idx="77">
                  <c:v>8237</c:v>
                </c:pt>
                <c:pt idx="78">
                  <c:v>8489</c:v>
                </c:pt>
                <c:pt idx="79">
                  <c:v>8663</c:v>
                </c:pt>
                <c:pt idx="80">
                  <c:v>9120</c:v>
                </c:pt>
                <c:pt idx="81">
                  <c:v>9473</c:v>
                </c:pt>
                <c:pt idx="82">
                  <c:v>9774</c:v>
                </c:pt>
                <c:pt idx="83">
                  <c:v>9926</c:v>
                </c:pt>
                <c:pt idx="84">
                  <c:v>10050</c:v>
                </c:pt>
                <c:pt idx="85">
                  <c:v>9916</c:v>
                </c:pt>
                <c:pt idx="86">
                  <c:v>9878</c:v>
                </c:pt>
                <c:pt idx="87">
                  <c:v>9766</c:v>
                </c:pt>
                <c:pt idx="88">
                  <c:v>9873</c:v>
                </c:pt>
                <c:pt idx="89">
                  <c:v>9943</c:v>
                </c:pt>
                <c:pt idx="90">
                  <c:v>10050</c:v>
                </c:pt>
                <c:pt idx="91">
                  <c:v>10294</c:v>
                </c:pt>
                <c:pt idx="92">
                  <c:v>10357</c:v>
                </c:pt>
                <c:pt idx="93">
                  <c:v>10078</c:v>
                </c:pt>
                <c:pt idx="94">
                  <c:v>9658</c:v>
                </c:pt>
                <c:pt idx="95">
                  <c:v>9190</c:v>
                </c:pt>
                <c:pt idx="96">
                  <c:v>8886</c:v>
                </c:pt>
                <c:pt idx="97">
                  <c:v>8744</c:v>
                </c:pt>
                <c:pt idx="98">
                  <c:v>8691</c:v>
                </c:pt>
                <c:pt idx="99">
                  <c:v>8722</c:v>
                </c:pt>
                <c:pt idx="100">
                  <c:v>9035</c:v>
                </c:pt>
                <c:pt idx="101">
                  <c:v>9798</c:v>
                </c:pt>
                <c:pt idx="102">
                  <c:v>10517</c:v>
                </c:pt>
                <c:pt idx="103">
                  <c:v>10963</c:v>
                </c:pt>
                <c:pt idx="104">
                  <c:v>11013</c:v>
                </c:pt>
                <c:pt idx="105">
                  <c:v>10956</c:v>
                </c:pt>
                <c:pt idx="106">
                  <c:v>10933</c:v>
                </c:pt>
                <c:pt idx="107">
                  <c:v>10849</c:v>
                </c:pt>
                <c:pt idx="108">
                  <c:v>10748</c:v>
                </c:pt>
                <c:pt idx="109">
                  <c:v>10706</c:v>
                </c:pt>
                <c:pt idx="110">
                  <c:v>10520</c:v>
                </c:pt>
                <c:pt idx="111">
                  <c:v>10355</c:v>
                </c:pt>
                <c:pt idx="112">
                  <c:v>10238</c:v>
                </c:pt>
                <c:pt idx="113">
                  <c:v>10234</c:v>
                </c:pt>
                <c:pt idx="114">
                  <c:v>10251</c:v>
                </c:pt>
                <c:pt idx="115">
                  <c:v>10570</c:v>
                </c:pt>
                <c:pt idx="116">
                  <c:v>10594</c:v>
                </c:pt>
                <c:pt idx="117">
                  <c:v>10216</c:v>
                </c:pt>
                <c:pt idx="118">
                  <c:v>9603</c:v>
                </c:pt>
                <c:pt idx="119">
                  <c:v>9059</c:v>
                </c:pt>
                <c:pt idx="120">
                  <c:v>8696</c:v>
                </c:pt>
                <c:pt idx="121">
                  <c:v>8511</c:v>
                </c:pt>
                <c:pt idx="122">
                  <c:v>8330</c:v>
                </c:pt>
                <c:pt idx="123">
                  <c:v>8301</c:v>
                </c:pt>
                <c:pt idx="124">
                  <c:v>8520</c:v>
                </c:pt>
                <c:pt idx="125">
                  <c:v>9137</c:v>
                </c:pt>
                <c:pt idx="126">
                  <c:v>9927</c:v>
                </c:pt>
                <c:pt idx="127">
                  <c:v>10405</c:v>
                </c:pt>
                <c:pt idx="128">
                  <c:v>10498</c:v>
                </c:pt>
                <c:pt idx="129">
                  <c:v>10528</c:v>
                </c:pt>
                <c:pt idx="130">
                  <c:v>10586</c:v>
                </c:pt>
                <c:pt idx="131">
                  <c:v>10621</c:v>
                </c:pt>
                <c:pt idx="132">
                  <c:v>10622</c:v>
                </c:pt>
                <c:pt idx="133">
                  <c:v>10705</c:v>
                </c:pt>
                <c:pt idx="134">
                  <c:v>10689</c:v>
                </c:pt>
                <c:pt idx="135">
                  <c:v>10567</c:v>
                </c:pt>
                <c:pt idx="136">
                  <c:v>10445</c:v>
                </c:pt>
                <c:pt idx="137">
                  <c:v>10267</c:v>
                </c:pt>
                <c:pt idx="138">
                  <c:v>10074</c:v>
                </c:pt>
                <c:pt idx="139">
                  <c:v>10241</c:v>
                </c:pt>
                <c:pt idx="140">
                  <c:v>10297</c:v>
                </c:pt>
                <c:pt idx="141">
                  <c:v>9847</c:v>
                </c:pt>
                <c:pt idx="142">
                  <c:v>9240</c:v>
                </c:pt>
                <c:pt idx="143">
                  <c:v>8724</c:v>
                </c:pt>
                <c:pt idx="144">
                  <c:v>8333</c:v>
                </c:pt>
                <c:pt idx="145">
                  <c:v>8105</c:v>
                </c:pt>
                <c:pt idx="146">
                  <c:v>7960</c:v>
                </c:pt>
                <c:pt idx="147">
                  <c:v>7952</c:v>
                </c:pt>
                <c:pt idx="148">
                  <c:v>8163</c:v>
                </c:pt>
                <c:pt idx="149">
                  <c:v>8807</c:v>
                </c:pt>
                <c:pt idx="150">
                  <c:v>9641</c:v>
                </c:pt>
                <c:pt idx="151">
                  <c:v>10231</c:v>
                </c:pt>
                <c:pt idx="152">
                  <c:v>10464</c:v>
                </c:pt>
                <c:pt idx="153">
                  <c:v>10545</c:v>
                </c:pt>
                <c:pt idx="154">
                  <c:v>10601</c:v>
                </c:pt>
                <c:pt idx="155">
                  <c:v>10578</c:v>
                </c:pt>
                <c:pt idx="156">
                  <c:v>10609</c:v>
                </c:pt>
                <c:pt idx="157">
                  <c:v>10754</c:v>
                </c:pt>
                <c:pt idx="158">
                  <c:v>10748</c:v>
                </c:pt>
                <c:pt idx="159">
                  <c:v>10674</c:v>
                </c:pt>
                <c:pt idx="160">
                  <c:v>10621</c:v>
                </c:pt>
                <c:pt idx="161">
                  <c:v>10528</c:v>
                </c:pt>
                <c:pt idx="162">
                  <c:v>10324</c:v>
                </c:pt>
                <c:pt idx="163">
                  <c:v>10498</c:v>
                </c:pt>
                <c:pt idx="164">
                  <c:v>10602</c:v>
                </c:pt>
                <c:pt idx="165">
                  <c:v>10179</c:v>
                </c:pt>
                <c:pt idx="166">
                  <c:v>9536</c:v>
                </c:pt>
                <c:pt idx="167">
                  <c:v>9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183-4251-B43D-E377475EA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5066448"/>
        <c:axId val="465066840"/>
      </c:lineChart>
      <c:catAx>
        <c:axId val="465066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66840"/>
        <c:crosses val="autoZero"/>
        <c:auto val="1"/>
        <c:lblAlgn val="ctr"/>
        <c:lblOffset val="100"/>
        <c:noMultiLvlLbl val="0"/>
      </c:catAx>
      <c:valAx>
        <c:axId val="465066840"/>
        <c:scaling>
          <c:orientation val="minMax"/>
          <c:max val="2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66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300" b="0" i="0" baseline="0" dirty="0">
                <a:effectLst/>
              </a:rPr>
              <a:t>ComEd Zone Hourly MW for April Week </a:t>
            </a:r>
          </a:p>
          <a:p>
            <a:pPr>
              <a:defRPr/>
            </a:pPr>
            <a:r>
              <a:rPr lang="en-US" sz="1300" b="0" i="0" baseline="0" dirty="0">
                <a:effectLst/>
              </a:rPr>
              <a:t>99% Zero-Emission Load</a:t>
            </a:r>
            <a:endParaRPr lang="en-US" sz="1300" dirty="0">
              <a:effectLst/>
            </a:endParaRPr>
          </a:p>
        </c:rich>
      </c:tx>
      <c:layout>
        <c:manualLayout>
          <c:xMode val="edge"/>
          <c:yMode val="edge"/>
          <c:x val="0.15735474650211523"/>
          <c:y val="2.77613589862863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B$2:$B$169</c:f>
              <c:numCache>
                <c:formatCode>#,##0</c:formatCode>
                <c:ptCount val="168"/>
                <c:pt idx="0">
                  <c:v>9181</c:v>
                </c:pt>
                <c:pt idx="1">
                  <c:v>9184</c:v>
                </c:pt>
                <c:pt idx="2">
                  <c:v>9191</c:v>
                </c:pt>
                <c:pt idx="3">
                  <c:v>9189</c:v>
                </c:pt>
                <c:pt idx="4">
                  <c:v>9190</c:v>
                </c:pt>
                <c:pt idx="5">
                  <c:v>9191</c:v>
                </c:pt>
                <c:pt idx="6">
                  <c:v>9198</c:v>
                </c:pt>
                <c:pt idx="7">
                  <c:v>9203</c:v>
                </c:pt>
                <c:pt idx="8">
                  <c:v>9198</c:v>
                </c:pt>
                <c:pt idx="9">
                  <c:v>9203</c:v>
                </c:pt>
                <c:pt idx="10">
                  <c:v>9203</c:v>
                </c:pt>
                <c:pt idx="11">
                  <c:v>9195</c:v>
                </c:pt>
                <c:pt idx="12">
                  <c:v>9200</c:v>
                </c:pt>
                <c:pt idx="13">
                  <c:v>9203</c:v>
                </c:pt>
                <c:pt idx="14">
                  <c:v>9199</c:v>
                </c:pt>
                <c:pt idx="15">
                  <c:v>9200</c:v>
                </c:pt>
                <c:pt idx="16">
                  <c:v>9199</c:v>
                </c:pt>
                <c:pt idx="17">
                  <c:v>9194</c:v>
                </c:pt>
                <c:pt idx="18">
                  <c:v>9196</c:v>
                </c:pt>
                <c:pt idx="19">
                  <c:v>9195</c:v>
                </c:pt>
                <c:pt idx="20">
                  <c:v>9198</c:v>
                </c:pt>
                <c:pt idx="21">
                  <c:v>9191</c:v>
                </c:pt>
                <c:pt idx="22">
                  <c:v>9197</c:v>
                </c:pt>
                <c:pt idx="23">
                  <c:v>9191</c:v>
                </c:pt>
                <c:pt idx="24">
                  <c:v>9196</c:v>
                </c:pt>
                <c:pt idx="25">
                  <c:v>9188</c:v>
                </c:pt>
                <c:pt idx="26">
                  <c:v>9203</c:v>
                </c:pt>
                <c:pt idx="27">
                  <c:v>9198</c:v>
                </c:pt>
                <c:pt idx="28">
                  <c:v>9200</c:v>
                </c:pt>
                <c:pt idx="29">
                  <c:v>9192</c:v>
                </c:pt>
                <c:pt idx="30">
                  <c:v>9196</c:v>
                </c:pt>
                <c:pt idx="31">
                  <c:v>9202</c:v>
                </c:pt>
                <c:pt idx="32">
                  <c:v>9200</c:v>
                </c:pt>
                <c:pt idx="33">
                  <c:v>9200</c:v>
                </c:pt>
                <c:pt idx="34">
                  <c:v>9202</c:v>
                </c:pt>
                <c:pt idx="35">
                  <c:v>9199</c:v>
                </c:pt>
                <c:pt idx="36">
                  <c:v>9202</c:v>
                </c:pt>
                <c:pt idx="37">
                  <c:v>9200</c:v>
                </c:pt>
                <c:pt idx="38">
                  <c:v>9202</c:v>
                </c:pt>
                <c:pt idx="39">
                  <c:v>9200</c:v>
                </c:pt>
                <c:pt idx="40">
                  <c:v>9203</c:v>
                </c:pt>
                <c:pt idx="41">
                  <c:v>9206</c:v>
                </c:pt>
                <c:pt idx="42">
                  <c:v>9198</c:v>
                </c:pt>
                <c:pt idx="43">
                  <c:v>9208</c:v>
                </c:pt>
                <c:pt idx="44">
                  <c:v>9207</c:v>
                </c:pt>
                <c:pt idx="45">
                  <c:v>9207</c:v>
                </c:pt>
                <c:pt idx="46">
                  <c:v>9209</c:v>
                </c:pt>
                <c:pt idx="47">
                  <c:v>9212</c:v>
                </c:pt>
                <c:pt idx="48">
                  <c:v>9205</c:v>
                </c:pt>
                <c:pt idx="49">
                  <c:v>9212</c:v>
                </c:pt>
                <c:pt idx="50">
                  <c:v>9206</c:v>
                </c:pt>
                <c:pt idx="51">
                  <c:v>9216</c:v>
                </c:pt>
                <c:pt idx="52">
                  <c:v>9212</c:v>
                </c:pt>
                <c:pt idx="53">
                  <c:v>9213</c:v>
                </c:pt>
                <c:pt idx="54">
                  <c:v>9208</c:v>
                </c:pt>
                <c:pt idx="55">
                  <c:v>9216</c:v>
                </c:pt>
                <c:pt idx="56">
                  <c:v>9212</c:v>
                </c:pt>
                <c:pt idx="57">
                  <c:v>9216</c:v>
                </c:pt>
                <c:pt idx="58">
                  <c:v>9209</c:v>
                </c:pt>
                <c:pt idx="59">
                  <c:v>9215</c:v>
                </c:pt>
                <c:pt idx="60">
                  <c:v>9212</c:v>
                </c:pt>
                <c:pt idx="61">
                  <c:v>9204</c:v>
                </c:pt>
                <c:pt idx="62">
                  <c:v>9207</c:v>
                </c:pt>
                <c:pt idx="63">
                  <c:v>9210</c:v>
                </c:pt>
                <c:pt idx="64">
                  <c:v>9203</c:v>
                </c:pt>
                <c:pt idx="65">
                  <c:v>9207</c:v>
                </c:pt>
                <c:pt idx="66">
                  <c:v>9204</c:v>
                </c:pt>
                <c:pt idx="67">
                  <c:v>9205</c:v>
                </c:pt>
                <c:pt idx="68">
                  <c:v>9209</c:v>
                </c:pt>
                <c:pt idx="69">
                  <c:v>9211</c:v>
                </c:pt>
                <c:pt idx="70">
                  <c:v>9207</c:v>
                </c:pt>
                <c:pt idx="71">
                  <c:v>9212</c:v>
                </c:pt>
                <c:pt idx="72">
                  <c:v>9214</c:v>
                </c:pt>
                <c:pt idx="73">
                  <c:v>9210</c:v>
                </c:pt>
                <c:pt idx="74">
                  <c:v>9210</c:v>
                </c:pt>
                <c:pt idx="75">
                  <c:v>9207</c:v>
                </c:pt>
                <c:pt idx="76">
                  <c:v>9219</c:v>
                </c:pt>
                <c:pt idx="77">
                  <c:v>9214</c:v>
                </c:pt>
                <c:pt idx="78">
                  <c:v>9221</c:v>
                </c:pt>
                <c:pt idx="79">
                  <c:v>9217</c:v>
                </c:pt>
                <c:pt idx="80">
                  <c:v>9217</c:v>
                </c:pt>
                <c:pt idx="81">
                  <c:v>9212</c:v>
                </c:pt>
                <c:pt idx="82">
                  <c:v>9221</c:v>
                </c:pt>
                <c:pt idx="83">
                  <c:v>9212</c:v>
                </c:pt>
                <c:pt idx="84">
                  <c:v>9225</c:v>
                </c:pt>
                <c:pt idx="85">
                  <c:v>9217</c:v>
                </c:pt>
                <c:pt idx="86">
                  <c:v>9213</c:v>
                </c:pt>
                <c:pt idx="87">
                  <c:v>9217</c:v>
                </c:pt>
                <c:pt idx="88">
                  <c:v>9222</c:v>
                </c:pt>
                <c:pt idx="89">
                  <c:v>9224</c:v>
                </c:pt>
                <c:pt idx="90">
                  <c:v>9223</c:v>
                </c:pt>
                <c:pt idx="91">
                  <c:v>9220</c:v>
                </c:pt>
                <c:pt idx="92">
                  <c:v>9222</c:v>
                </c:pt>
                <c:pt idx="93">
                  <c:v>9226</c:v>
                </c:pt>
                <c:pt idx="94">
                  <c:v>9224</c:v>
                </c:pt>
                <c:pt idx="95">
                  <c:v>9223</c:v>
                </c:pt>
                <c:pt idx="96">
                  <c:v>9229</c:v>
                </c:pt>
                <c:pt idx="97">
                  <c:v>9223</c:v>
                </c:pt>
                <c:pt idx="98">
                  <c:v>9224</c:v>
                </c:pt>
                <c:pt idx="99">
                  <c:v>9223</c:v>
                </c:pt>
                <c:pt idx="100">
                  <c:v>9220</c:v>
                </c:pt>
                <c:pt idx="101">
                  <c:v>9224</c:v>
                </c:pt>
                <c:pt idx="102">
                  <c:v>9225</c:v>
                </c:pt>
                <c:pt idx="103">
                  <c:v>9225</c:v>
                </c:pt>
                <c:pt idx="104">
                  <c:v>9220</c:v>
                </c:pt>
                <c:pt idx="105">
                  <c:v>9225</c:v>
                </c:pt>
                <c:pt idx="106">
                  <c:v>9225</c:v>
                </c:pt>
                <c:pt idx="107">
                  <c:v>9218</c:v>
                </c:pt>
                <c:pt idx="108">
                  <c:v>9211</c:v>
                </c:pt>
                <c:pt idx="109">
                  <c:v>9218</c:v>
                </c:pt>
                <c:pt idx="110">
                  <c:v>9215</c:v>
                </c:pt>
                <c:pt idx="111">
                  <c:v>9209</c:v>
                </c:pt>
                <c:pt idx="112">
                  <c:v>9215</c:v>
                </c:pt>
                <c:pt idx="113">
                  <c:v>9209</c:v>
                </c:pt>
                <c:pt idx="114">
                  <c:v>9215</c:v>
                </c:pt>
                <c:pt idx="115">
                  <c:v>9214</c:v>
                </c:pt>
                <c:pt idx="116">
                  <c:v>9206</c:v>
                </c:pt>
                <c:pt idx="117">
                  <c:v>9216</c:v>
                </c:pt>
                <c:pt idx="118">
                  <c:v>9203</c:v>
                </c:pt>
                <c:pt idx="119">
                  <c:v>9215</c:v>
                </c:pt>
                <c:pt idx="120">
                  <c:v>9211</c:v>
                </c:pt>
                <c:pt idx="121">
                  <c:v>9213</c:v>
                </c:pt>
                <c:pt idx="122">
                  <c:v>9209</c:v>
                </c:pt>
                <c:pt idx="123">
                  <c:v>9211</c:v>
                </c:pt>
                <c:pt idx="124">
                  <c:v>9211</c:v>
                </c:pt>
                <c:pt idx="125">
                  <c:v>9212</c:v>
                </c:pt>
                <c:pt idx="126">
                  <c:v>9208</c:v>
                </c:pt>
                <c:pt idx="127">
                  <c:v>9209</c:v>
                </c:pt>
                <c:pt idx="128">
                  <c:v>9203</c:v>
                </c:pt>
                <c:pt idx="129">
                  <c:v>9204</c:v>
                </c:pt>
                <c:pt idx="130">
                  <c:v>9202</c:v>
                </c:pt>
                <c:pt idx="131">
                  <c:v>9199</c:v>
                </c:pt>
                <c:pt idx="132">
                  <c:v>9191</c:v>
                </c:pt>
                <c:pt idx="133">
                  <c:v>9194</c:v>
                </c:pt>
                <c:pt idx="134">
                  <c:v>9192</c:v>
                </c:pt>
                <c:pt idx="135">
                  <c:v>9188</c:v>
                </c:pt>
                <c:pt idx="136">
                  <c:v>9183</c:v>
                </c:pt>
                <c:pt idx="137">
                  <c:v>9183</c:v>
                </c:pt>
                <c:pt idx="138">
                  <c:v>9187</c:v>
                </c:pt>
                <c:pt idx="139">
                  <c:v>9188</c:v>
                </c:pt>
                <c:pt idx="140">
                  <c:v>9190</c:v>
                </c:pt>
                <c:pt idx="141">
                  <c:v>9189</c:v>
                </c:pt>
                <c:pt idx="142">
                  <c:v>9186</c:v>
                </c:pt>
                <c:pt idx="143">
                  <c:v>9193</c:v>
                </c:pt>
                <c:pt idx="144">
                  <c:v>9194</c:v>
                </c:pt>
                <c:pt idx="145">
                  <c:v>9199</c:v>
                </c:pt>
                <c:pt idx="146">
                  <c:v>9191</c:v>
                </c:pt>
                <c:pt idx="147">
                  <c:v>9189</c:v>
                </c:pt>
                <c:pt idx="148">
                  <c:v>9193</c:v>
                </c:pt>
                <c:pt idx="149">
                  <c:v>9191</c:v>
                </c:pt>
                <c:pt idx="150">
                  <c:v>9188</c:v>
                </c:pt>
                <c:pt idx="151">
                  <c:v>9183</c:v>
                </c:pt>
                <c:pt idx="152">
                  <c:v>9187</c:v>
                </c:pt>
                <c:pt idx="153">
                  <c:v>9182</c:v>
                </c:pt>
                <c:pt idx="154">
                  <c:v>9184</c:v>
                </c:pt>
                <c:pt idx="155">
                  <c:v>9174</c:v>
                </c:pt>
                <c:pt idx="156">
                  <c:v>9174</c:v>
                </c:pt>
                <c:pt idx="157">
                  <c:v>9167</c:v>
                </c:pt>
                <c:pt idx="158">
                  <c:v>9165</c:v>
                </c:pt>
                <c:pt idx="159">
                  <c:v>9153</c:v>
                </c:pt>
                <c:pt idx="160">
                  <c:v>9158</c:v>
                </c:pt>
                <c:pt idx="161">
                  <c:v>9153</c:v>
                </c:pt>
                <c:pt idx="162">
                  <c:v>9155</c:v>
                </c:pt>
                <c:pt idx="163">
                  <c:v>9152</c:v>
                </c:pt>
                <c:pt idx="164">
                  <c:v>9159</c:v>
                </c:pt>
                <c:pt idx="165">
                  <c:v>9154</c:v>
                </c:pt>
                <c:pt idx="166">
                  <c:v>9162</c:v>
                </c:pt>
                <c:pt idx="167">
                  <c:v>9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83-4251-B43D-E377475EA9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88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1-0183-4251-B43D-E377475EA9C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0183-4251-B43D-E377475EA9C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0183-4251-B43D-E377475EA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5073896"/>
        <c:axId val="465074680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Load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F$2:$F$169</c:f>
              <c:numCache>
                <c:formatCode>#,##0</c:formatCode>
                <c:ptCount val="168"/>
                <c:pt idx="0">
                  <c:v>9220</c:v>
                </c:pt>
                <c:pt idx="1">
                  <c:v>8981</c:v>
                </c:pt>
                <c:pt idx="2">
                  <c:v>8838</c:v>
                </c:pt>
                <c:pt idx="3">
                  <c:v>8815</c:v>
                </c:pt>
                <c:pt idx="4">
                  <c:v>9070</c:v>
                </c:pt>
                <c:pt idx="5">
                  <c:v>9726</c:v>
                </c:pt>
                <c:pt idx="6">
                  <c:v>10639</c:v>
                </c:pt>
                <c:pt idx="7">
                  <c:v>11146</c:v>
                </c:pt>
                <c:pt idx="8">
                  <c:v>11287</c:v>
                </c:pt>
                <c:pt idx="9">
                  <c:v>11332</c:v>
                </c:pt>
                <c:pt idx="10">
                  <c:v>11211</c:v>
                </c:pt>
                <c:pt idx="11">
                  <c:v>11030</c:v>
                </c:pt>
                <c:pt idx="12">
                  <c:v>10965</c:v>
                </c:pt>
                <c:pt idx="13">
                  <c:v>10875</c:v>
                </c:pt>
                <c:pt idx="14">
                  <c:v>10682</c:v>
                </c:pt>
                <c:pt idx="15">
                  <c:v>10538</c:v>
                </c:pt>
                <c:pt idx="16">
                  <c:v>10464</c:v>
                </c:pt>
                <c:pt idx="17">
                  <c:v>10428</c:v>
                </c:pt>
                <c:pt idx="18">
                  <c:v>10376</c:v>
                </c:pt>
                <c:pt idx="19">
                  <c:v>10645</c:v>
                </c:pt>
                <c:pt idx="20">
                  <c:v>10620</c:v>
                </c:pt>
                <c:pt idx="21">
                  <c:v>10200</c:v>
                </c:pt>
                <c:pt idx="22">
                  <c:v>9576</c:v>
                </c:pt>
                <c:pt idx="23">
                  <c:v>9038</c:v>
                </c:pt>
                <c:pt idx="24">
                  <c:v>8618</c:v>
                </c:pt>
                <c:pt idx="25">
                  <c:v>8382</c:v>
                </c:pt>
                <c:pt idx="26">
                  <c:v>8223</c:v>
                </c:pt>
                <c:pt idx="27">
                  <c:v>8170</c:v>
                </c:pt>
                <c:pt idx="28">
                  <c:v>8417</c:v>
                </c:pt>
                <c:pt idx="29">
                  <c:v>9076</c:v>
                </c:pt>
                <c:pt idx="30">
                  <c:v>10026</c:v>
                </c:pt>
                <c:pt idx="31">
                  <c:v>10608</c:v>
                </c:pt>
                <c:pt idx="32">
                  <c:v>10703</c:v>
                </c:pt>
                <c:pt idx="33">
                  <c:v>10776</c:v>
                </c:pt>
                <c:pt idx="34">
                  <c:v>10840</c:v>
                </c:pt>
                <c:pt idx="35">
                  <c:v>10748</c:v>
                </c:pt>
                <c:pt idx="36">
                  <c:v>10669</c:v>
                </c:pt>
                <c:pt idx="37">
                  <c:v>10634</c:v>
                </c:pt>
                <c:pt idx="38">
                  <c:v>10490</c:v>
                </c:pt>
                <c:pt idx="39">
                  <c:v>10350</c:v>
                </c:pt>
                <c:pt idx="40">
                  <c:v>10313</c:v>
                </c:pt>
                <c:pt idx="41">
                  <c:v>10248</c:v>
                </c:pt>
                <c:pt idx="42">
                  <c:v>10170</c:v>
                </c:pt>
                <c:pt idx="43">
                  <c:v>10353</c:v>
                </c:pt>
                <c:pt idx="44">
                  <c:v>10474</c:v>
                </c:pt>
                <c:pt idx="45">
                  <c:v>10194</c:v>
                </c:pt>
                <c:pt idx="46">
                  <c:v>9684</c:v>
                </c:pt>
                <c:pt idx="47">
                  <c:v>9187</c:v>
                </c:pt>
                <c:pt idx="48">
                  <c:v>8802</c:v>
                </c:pt>
                <c:pt idx="49">
                  <c:v>8585</c:v>
                </c:pt>
                <c:pt idx="50">
                  <c:v>8449</c:v>
                </c:pt>
                <c:pt idx="51">
                  <c:v>8415</c:v>
                </c:pt>
                <c:pt idx="52">
                  <c:v>8500</c:v>
                </c:pt>
                <c:pt idx="53">
                  <c:v>8789</c:v>
                </c:pt>
                <c:pt idx="54">
                  <c:v>9047</c:v>
                </c:pt>
                <c:pt idx="55">
                  <c:v>9302</c:v>
                </c:pt>
                <c:pt idx="56">
                  <c:v>9492</c:v>
                </c:pt>
                <c:pt idx="57">
                  <c:v>9579</c:v>
                </c:pt>
                <c:pt idx="58">
                  <c:v>9554</c:v>
                </c:pt>
                <c:pt idx="59">
                  <c:v>9468</c:v>
                </c:pt>
                <c:pt idx="60">
                  <c:v>9298</c:v>
                </c:pt>
                <c:pt idx="61">
                  <c:v>9075</c:v>
                </c:pt>
                <c:pt idx="62">
                  <c:v>8918</c:v>
                </c:pt>
                <c:pt idx="63">
                  <c:v>8743</c:v>
                </c:pt>
                <c:pt idx="64">
                  <c:v>8716</c:v>
                </c:pt>
                <c:pt idx="65">
                  <c:v>8702</c:v>
                </c:pt>
                <c:pt idx="66">
                  <c:v>8738</c:v>
                </c:pt>
                <c:pt idx="67">
                  <c:v>9059</c:v>
                </c:pt>
                <c:pt idx="68">
                  <c:v>9353</c:v>
                </c:pt>
                <c:pt idx="69">
                  <c:v>9238</c:v>
                </c:pt>
                <c:pt idx="70">
                  <c:v>8954</c:v>
                </c:pt>
                <c:pt idx="71">
                  <c:v>8561</c:v>
                </c:pt>
                <c:pt idx="72">
                  <c:v>8311</c:v>
                </c:pt>
                <c:pt idx="73">
                  <c:v>8126</c:v>
                </c:pt>
                <c:pt idx="74">
                  <c:v>7995</c:v>
                </c:pt>
                <c:pt idx="75">
                  <c:v>8005</c:v>
                </c:pt>
                <c:pt idx="76">
                  <c:v>8072</c:v>
                </c:pt>
                <c:pt idx="77">
                  <c:v>8237</c:v>
                </c:pt>
                <c:pt idx="78">
                  <c:v>8489</c:v>
                </c:pt>
                <c:pt idx="79">
                  <c:v>8663</c:v>
                </c:pt>
                <c:pt idx="80">
                  <c:v>9120</c:v>
                </c:pt>
                <c:pt idx="81">
                  <c:v>9473</c:v>
                </c:pt>
                <c:pt idx="82">
                  <c:v>9774</c:v>
                </c:pt>
                <c:pt idx="83">
                  <c:v>9926</c:v>
                </c:pt>
                <c:pt idx="84">
                  <c:v>10050</c:v>
                </c:pt>
                <c:pt idx="85">
                  <c:v>9916</c:v>
                </c:pt>
                <c:pt idx="86">
                  <c:v>9878</c:v>
                </c:pt>
                <c:pt idx="87">
                  <c:v>9766</c:v>
                </c:pt>
                <c:pt idx="88">
                  <c:v>9873</c:v>
                </c:pt>
                <c:pt idx="89">
                  <c:v>9943</c:v>
                </c:pt>
                <c:pt idx="90">
                  <c:v>10050</c:v>
                </c:pt>
                <c:pt idx="91">
                  <c:v>10294</c:v>
                </c:pt>
                <c:pt idx="92">
                  <c:v>10357</c:v>
                </c:pt>
                <c:pt idx="93">
                  <c:v>10078</c:v>
                </c:pt>
                <c:pt idx="94">
                  <c:v>9658</c:v>
                </c:pt>
                <c:pt idx="95">
                  <c:v>9190</c:v>
                </c:pt>
                <c:pt idx="96">
                  <c:v>8886</c:v>
                </c:pt>
                <c:pt idx="97">
                  <c:v>8744</c:v>
                </c:pt>
                <c:pt idx="98">
                  <c:v>8691</c:v>
                </c:pt>
                <c:pt idx="99">
                  <c:v>8722</c:v>
                </c:pt>
                <c:pt idx="100">
                  <c:v>9035</c:v>
                </c:pt>
                <c:pt idx="101">
                  <c:v>9798</c:v>
                </c:pt>
                <c:pt idx="102">
                  <c:v>10517</c:v>
                </c:pt>
                <c:pt idx="103">
                  <c:v>10963</c:v>
                </c:pt>
                <c:pt idx="104">
                  <c:v>11013</c:v>
                </c:pt>
                <c:pt idx="105">
                  <c:v>10956</c:v>
                </c:pt>
                <c:pt idx="106">
                  <c:v>10933</c:v>
                </c:pt>
                <c:pt idx="107">
                  <c:v>10849</c:v>
                </c:pt>
                <c:pt idx="108">
                  <c:v>10748</c:v>
                </c:pt>
                <c:pt idx="109">
                  <c:v>10706</c:v>
                </c:pt>
                <c:pt idx="110">
                  <c:v>10520</c:v>
                </c:pt>
                <c:pt idx="111">
                  <c:v>10355</c:v>
                </c:pt>
                <c:pt idx="112">
                  <c:v>10238</c:v>
                </c:pt>
                <c:pt idx="113">
                  <c:v>10234</c:v>
                </c:pt>
                <c:pt idx="114">
                  <c:v>10251</c:v>
                </c:pt>
                <c:pt idx="115">
                  <c:v>10570</c:v>
                </c:pt>
                <c:pt idx="116">
                  <c:v>10594</c:v>
                </c:pt>
                <c:pt idx="117">
                  <c:v>10216</c:v>
                </c:pt>
                <c:pt idx="118">
                  <c:v>9603</c:v>
                </c:pt>
                <c:pt idx="119">
                  <c:v>9059</c:v>
                </c:pt>
                <c:pt idx="120">
                  <c:v>8696</c:v>
                </c:pt>
                <c:pt idx="121">
                  <c:v>8511</c:v>
                </c:pt>
                <c:pt idx="122">
                  <c:v>8330</c:v>
                </c:pt>
                <c:pt idx="123">
                  <c:v>8301</c:v>
                </c:pt>
                <c:pt idx="124">
                  <c:v>8520</c:v>
                </c:pt>
                <c:pt idx="125">
                  <c:v>9137</c:v>
                </c:pt>
                <c:pt idx="126">
                  <c:v>9927</c:v>
                </c:pt>
                <c:pt idx="127">
                  <c:v>10405</c:v>
                </c:pt>
                <c:pt idx="128">
                  <c:v>10498</c:v>
                </c:pt>
                <c:pt idx="129">
                  <c:v>10528</c:v>
                </c:pt>
                <c:pt idx="130">
                  <c:v>10586</c:v>
                </c:pt>
                <c:pt idx="131">
                  <c:v>10621</c:v>
                </c:pt>
                <c:pt idx="132">
                  <c:v>10622</c:v>
                </c:pt>
                <c:pt idx="133">
                  <c:v>10705</c:v>
                </c:pt>
                <c:pt idx="134">
                  <c:v>10689</c:v>
                </c:pt>
                <c:pt idx="135">
                  <c:v>10567</c:v>
                </c:pt>
                <c:pt idx="136">
                  <c:v>10445</c:v>
                </c:pt>
                <c:pt idx="137">
                  <c:v>10267</c:v>
                </c:pt>
                <c:pt idx="138">
                  <c:v>10074</c:v>
                </c:pt>
                <c:pt idx="139">
                  <c:v>10241</c:v>
                </c:pt>
                <c:pt idx="140">
                  <c:v>10297</c:v>
                </c:pt>
                <c:pt idx="141">
                  <c:v>9847</c:v>
                </c:pt>
                <c:pt idx="142">
                  <c:v>9240</c:v>
                </c:pt>
                <c:pt idx="143">
                  <c:v>8724</c:v>
                </c:pt>
                <c:pt idx="144">
                  <c:v>8333</c:v>
                </c:pt>
                <c:pt idx="145">
                  <c:v>8105</c:v>
                </c:pt>
                <c:pt idx="146">
                  <c:v>7960</c:v>
                </c:pt>
                <c:pt idx="147">
                  <c:v>7952</c:v>
                </c:pt>
                <c:pt idx="148">
                  <c:v>8163</c:v>
                </c:pt>
                <c:pt idx="149">
                  <c:v>8807</c:v>
                </c:pt>
                <c:pt idx="150">
                  <c:v>9641</c:v>
                </c:pt>
                <c:pt idx="151">
                  <c:v>10231</c:v>
                </c:pt>
                <c:pt idx="152">
                  <c:v>10464</c:v>
                </c:pt>
                <c:pt idx="153">
                  <c:v>10545</c:v>
                </c:pt>
                <c:pt idx="154">
                  <c:v>10601</c:v>
                </c:pt>
                <c:pt idx="155">
                  <c:v>10578</c:v>
                </c:pt>
                <c:pt idx="156">
                  <c:v>10609</c:v>
                </c:pt>
                <c:pt idx="157">
                  <c:v>10754</c:v>
                </c:pt>
                <c:pt idx="158">
                  <c:v>10748</c:v>
                </c:pt>
                <c:pt idx="159">
                  <c:v>10674</c:v>
                </c:pt>
                <c:pt idx="160">
                  <c:v>10621</c:v>
                </c:pt>
                <c:pt idx="161">
                  <c:v>10528</c:v>
                </c:pt>
                <c:pt idx="162">
                  <c:v>10324</c:v>
                </c:pt>
                <c:pt idx="163">
                  <c:v>10498</c:v>
                </c:pt>
                <c:pt idx="164">
                  <c:v>10602</c:v>
                </c:pt>
                <c:pt idx="165">
                  <c:v>10179</c:v>
                </c:pt>
                <c:pt idx="166">
                  <c:v>9536</c:v>
                </c:pt>
                <c:pt idx="167">
                  <c:v>9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183-4251-B43D-E377475EA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5073896"/>
        <c:axId val="465074680"/>
      </c:lineChart>
      <c:catAx>
        <c:axId val="465073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74680"/>
        <c:crosses val="autoZero"/>
        <c:auto val="1"/>
        <c:lblAlgn val="ctr"/>
        <c:lblOffset val="100"/>
        <c:noMultiLvlLbl val="0"/>
      </c:catAx>
      <c:valAx>
        <c:axId val="465074680"/>
        <c:scaling>
          <c:orientation val="minMax"/>
          <c:max val="2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73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300" b="0" i="0" baseline="0" dirty="0">
                <a:effectLst/>
              </a:rPr>
              <a:t>ComEd Zone Hourly MW for April Week </a:t>
            </a:r>
          </a:p>
          <a:p>
            <a:pPr>
              <a:defRPr/>
            </a:pPr>
            <a:r>
              <a:rPr lang="en-US" sz="1300" b="0" i="0" baseline="0" dirty="0">
                <a:effectLst/>
              </a:rPr>
              <a:t>99% Zero-Emission Load</a:t>
            </a:r>
            <a:endParaRPr lang="en-US" sz="1300" dirty="0">
              <a:effectLst/>
            </a:endParaRPr>
          </a:p>
        </c:rich>
      </c:tx>
      <c:layout>
        <c:manualLayout>
          <c:xMode val="edge"/>
          <c:yMode val="edge"/>
          <c:x val="0.15735474650211523"/>
          <c:y val="2.77613589862863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B$2:$B$169</c:f>
              <c:numCache>
                <c:formatCode>#,##0</c:formatCode>
                <c:ptCount val="168"/>
                <c:pt idx="0">
                  <c:v>9181</c:v>
                </c:pt>
                <c:pt idx="1">
                  <c:v>9184</c:v>
                </c:pt>
                <c:pt idx="2">
                  <c:v>9191</c:v>
                </c:pt>
                <c:pt idx="3">
                  <c:v>9189</c:v>
                </c:pt>
                <c:pt idx="4">
                  <c:v>9190</c:v>
                </c:pt>
                <c:pt idx="5">
                  <c:v>9191</c:v>
                </c:pt>
                <c:pt idx="6">
                  <c:v>9198</c:v>
                </c:pt>
                <c:pt idx="7">
                  <c:v>9203</c:v>
                </c:pt>
                <c:pt idx="8">
                  <c:v>9198</c:v>
                </c:pt>
                <c:pt idx="9">
                  <c:v>9203</c:v>
                </c:pt>
                <c:pt idx="10">
                  <c:v>9203</c:v>
                </c:pt>
                <c:pt idx="11">
                  <c:v>9195</c:v>
                </c:pt>
                <c:pt idx="12">
                  <c:v>9200</c:v>
                </c:pt>
                <c:pt idx="13">
                  <c:v>9203</c:v>
                </c:pt>
                <c:pt idx="14">
                  <c:v>9199</c:v>
                </c:pt>
                <c:pt idx="15">
                  <c:v>9200</c:v>
                </c:pt>
                <c:pt idx="16">
                  <c:v>9199</c:v>
                </c:pt>
                <c:pt idx="17">
                  <c:v>9194</c:v>
                </c:pt>
                <c:pt idx="18">
                  <c:v>9196</c:v>
                </c:pt>
                <c:pt idx="19">
                  <c:v>9195</c:v>
                </c:pt>
                <c:pt idx="20">
                  <c:v>9198</c:v>
                </c:pt>
                <c:pt idx="21">
                  <c:v>9191</c:v>
                </c:pt>
                <c:pt idx="22">
                  <c:v>9197</c:v>
                </c:pt>
                <c:pt idx="23">
                  <c:v>9191</c:v>
                </c:pt>
                <c:pt idx="24">
                  <c:v>9196</c:v>
                </c:pt>
                <c:pt idx="25">
                  <c:v>9188</c:v>
                </c:pt>
                <c:pt idx="26">
                  <c:v>9203</c:v>
                </c:pt>
                <c:pt idx="27">
                  <c:v>9198</c:v>
                </c:pt>
                <c:pt idx="28">
                  <c:v>9200</c:v>
                </c:pt>
                <c:pt idx="29">
                  <c:v>9192</c:v>
                </c:pt>
                <c:pt idx="30">
                  <c:v>9196</c:v>
                </c:pt>
                <c:pt idx="31">
                  <c:v>9202</c:v>
                </c:pt>
                <c:pt idx="32">
                  <c:v>9200</c:v>
                </c:pt>
                <c:pt idx="33">
                  <c:v>9200</c:v>
                </c:pt>
                <c:pt idx="34">
                  <c:v>9202</c:v>
                </c:pt>
                <c:pt idx="35">
                  <c:v>9199</c:v>
                </c:pt>
                <c:pt idx="36">
                  <c:v>9202</c:v>
                </c:pt>
                <c:pt idx="37">
                  <c:v>9200</c:v>
                </c:pt>
                <c:pt idx="38">
                  <c:v>9202</c:v>
                </c:pt>
                <c:pt idx="39">
                  <c:v>9200</c:v>
                </c:pt>
                <c:pt idx="40">
                  <c:v>9203</c:v>
                </c:pt>
                <c:pt idx="41">
                  <c:v>9206</c:v>
                </c:pt>
                <c:pt idx="42">
                  <c:v>9198</c:v>
                </c:pt>
                <c:pt idx="43">
                  <c:v>9208</c:v>
                </c:pt>
                <c:pt idx="44">
                  <c:v>9207</c:v>
                </c:pt>
                <c:pt idx="45">
                  <c:v>9207</c:v>
                </c:pt>
                <c:pt idx="46">
                  <c:v>9209</c:v>
                </c:pt>
                <c:pt idx="47">
                  <c:v>9212</c:v>
                </c:pt>
                <c:pt idx="48">
                  <c:v>9205</c:v>
                </c:pt>
                <c:pt idx="49">
                  <c:v>9212</c:v>
                </c:pt>
                <c:pt idx="50">
                  <c:v>9206</c:v>
                </c:pt>
                <c:pt idx="51">
                  <c:v>9216</c:v>
                </c:pt>
                <c:pt idx="52">
                  <c:v>9212</c:v>
                </c:pt>
                <c:pt idx="53">
                  <c:v>9213</c:v>
                </c:pt>
                <c:pt idx="54">
                  <c:v>9208</c:v>
                </c:pt>
                <c:pt idx="55">
                  <c:v>9216</c:v>
                </c:pt>
                <c:pt idx="56">
                  <c:v>9212</c:v>
                </c:pt>
                <c:pt idx="57">
                  <c:v>9216</c:v>
                </c:pt>
                <c:pt idx="58">
                  <c:v>9209</c:v>
                </c:pt>
                <c:pt idx="59">
                  <c:v>9215</c:v>
                </c:pt>
                <c:pt idx="60">
                  <c:v>9212</c:v>
                </c:pt>
                <c:pt idx="61">
                  <c:v>9204</c:v>
                </c:pt>
                <c:pt idx="62">
                  <c:v>9207</c:v>
                </c:pt>
                <c:pt idx="63">
                  <c:v>9210</c:v>
                </c:pt>
                <c:pt idx="64">
                  <c:v>9203</c:v>
                </c:pt>
                <c:pt idx="65">
                  <c:v>9207</c:v>
                </c:pt>
                <c:pt idx="66">
                  <c:v>9204</c:v>
                </c:pt>
                <c:pt idx="67">
                  <c:v>9205</c:v>
                </c:pt>
                <c:pt idx="68">
                  <c:v>9209</c:v>
                </c:pt>
                <c:pt idx="69">
                  <c:v>9211</c:v>
                </c:pt>
                <c:pt idx="70">
                  <c:v>9207</c:v>
                </c:pt>
                <c:pt idx="71">
                  <c:v>9212</c:v>
                </c:pt>
                <c:pt idx="72">
                  <c:v>9214</c:v>
                </c:pt>
                <c:pt idx="73">
                  <c:v>9210</c:v>
                </c:pt>
                <c:pt idx="74">
                  <c:v>9210</c:v>
                </c:pt>
                <c:pt idx="75">
                  <c:v>9207</c:v>
                </c:pt>
                <c:pt idx="76">
                  <c:v>9219</c:v>
                </c:pt>
                <c:pt idx="77">
                  <c:v>9214</c:v>
                </c:pt>
                <c:pt idx="78">
                  <c:v>9221</c:v>
                </c:pt>
                <c:pt idx="79">
                  <c:v>9217</c:v>
                </c:pt>
                <c:pt idx="80">
                  <c:v>9217</c:v>
                </c:pt>
                <c:pt idx="81">
                  <c:v>9212</c:v>
                </c:pt>
                <c:pt idx="82">
                  <c:v>9221</c:v>
                </c:pt>
                <c:pt idx="83">
                  <c:v>9212</c:v>
                </c:pt>
                <c:pt idx="84">
                  <c:v>9225</c:v>
                </c:pt>
                <c:pt idx="85">
                  <c:v>9217</c:v>
                </c:pt>
                <c:pt idx="86">
                  <c:v>9213</c:v>
                </c:pt>
                <c:pt idx="87">
                  <c:v>9217</c:v>
                </c:pt>
                <c:pt idx="88">
                  <c:v>9222</c:v>
                </c:pt>
                <c:pt idx="89">
                  <c:v>9224</c:v>
                </c:pt>
                <c:pt idx="90">
                  <c:v>9223</c:v>
                </c:pt>
                <c:pt idx="91">
                  <c:v>9220</c:v>
                </c:pt>
                <c:pt idx="92">
                  <c:v>9222</c:v>
                </c:pt>
                <c:pt idx="93">
                  <c:v>9226</c:v>
                </c:pt>
                <c:pt idx="94">
                  <c:v>9224</c:v>
                </c:pt>
                <c:pt idx="95">
                  <c:v>9223</c:v>
                </c:pt>
                <c:pt idx="96">
                  <c:v>9229</c:v>
                </c:pt>
                <c:pt idx="97">
                  <c:v>9223</c:v>
                </c:pt>
                <c:pt idx="98">
                  <c:v>9224</c:v>
                </c:pt>
                <c:pt idx="99">
                  <c:v>9223</c:v>
                </c:pt>
                <c:pt idx="100">
                  <c:v>9220</c:v>
                </c:pt>
                <c:pt idx="101">
                  <c:v>9224</c:v>
                </c:pt>
                <c:pt idx="102">
                  <c:v>9225</c:v>
                </c:pt>
                <c:pt idx="103">
                  <c:v>9225</c:v>
                </c:pt>
                <c:pt idx="104">
                  <c:v>9220</c:v>
                </c:pt>
                <c:pt idx="105">
                  <c:v>9225</c:v>
                </c:pt>
                <c:pt idx="106">
                  <c:v>9225</c:v>
                </c:pt>
                <c:pt idx="107">
                  <c:v>9218</c:v>
                </c:pt>
                <c:pt idx="108">
                  <c:v>9211</c:v>
                </c:pt>
                <c:pt idx="109">
                  <c:v>9218</c:v>
                </c:pt>
                <c:pt idx="110">
                  <c:v>9215</c:v>
                </c:pt>
                <c:pt idx="111">
                  <c:v>9209</c:v>
                </c:pt>
                <c:pt idx="112">
                  <c:v>9215</c:v>
                </c:pt>
                <c:pt idx="113">
                  <c:v>9209</c:v>
                </c:pt>
                <c:pt idx="114">
                  <c:v>9215</c:v>
                </c:pt>
                <c:pt idx="115">
                  <c:v>9214</c:v>
                </c:pt>
                <c:pt idx="116">
                  <c:v>9206</c:v>
                </c:pt>
                <c:pt idx="117">
                  <c:v>9216</c:v>
                </c:pt>
                <c:pt idx="118">
                  <c:v>9203</c:v>
                </c:pt>
                <c:pt idx="119">
                  <c:v>9215</c:v>
                </c:pt>
                <c:pt idx="120">
                  <c:v>9211</c:v>
                </c:pt>
                <c:pt idx="121">
                  <c:v>9213</c:v>
                </c:pt>
                <c:pt idx="122">
                  <c:v>9209</c:v>
                </c:pt>
                <c:pt idx="123">
                  <c:v>9211</c:v>
                </c:pt>
                <c:pt idx="124">
                  <c:v>9211</c:v>
                </c:pt>
                <c:pt idx="125">
                  <c:v>9212</c:v>
                </c:pt>
                <c:pt idx="126">
                  <c:v>9208</c:v>
                </c:pt>
                <c:pt idx="127">
                  <c:v>9209</c:v>
                </c:pt>
                <c:pt idx="128">
                  <c:v>9203</c:v>
                </c:pt>
                <c:pt idx="129">
                  <c:v>9204</c:v>
                </c:pt>
                <c:pt idx="130">
                  <c:v>9202</c:v>
                </c:pt>
                <c:pt idx="131">
                  <c:v>9199</c:v>
                </c:pt>
                <c:pt idx="132">
                  <c:v>9191</c:v>
                </c:pt>
                <c:pt idx="133">
                  <c:v>9194</c:v>
                </c:pt>
                <c:pt idx="134">
                  <c:v>9192</c:v>
                </c:pt>
                <c:pt idx="135">
                  <c:v>9188</c:v>
                </c:pt>
                <c:pt idx="136">
                  <c:v>9183</c:v>
                </c:pt>
                <c:pt idx="137">
                  <c:v>9183</c:v>
                </c:pt>
                <c:pt idx="138">
                  <c:v>9187</c:v>
                </c:pt>
                <c:pt idx="139">
                  <c:v>9188</c:v>
                </c:pt>
                <c:pt idx="140">
                  <c:v>9190</c:v>
                </c:pt>
                <c:pt idx="141">
                  <c:v>9189</c:v>
                </c:pt>
                <c:pt idx="142">
                  <c:v>9186</c:v>
                </c:pt>
                <c:pt idx="143">
                  <c:v>9193</c:v>
                </c:pt>
                <c:pt idx="144">
                  <c:v>9194</c:v>
                </c:pt>
                <c:pt idx="145">
                  <c:v>9199</c:v>
                </c:pt>
                <c:pt idx="146">
                  <c:v>9191</c:v>
                </c:pt>
                <c:pt idx="147">
                  <c:v>9189</c:v>
                </c:pt>
                <c:pt idx="148">
                  <c:v>9193</c:v>
                </c:pt>
                <c:pt idx="149">
                  <c:v>9191</c:v>
                </c:pt>
                <c:pt idx="150">
                  <c:v>9188</c:v>
                </c:pt>
                <c:pt idx="151">
                  <c:v>9183</c:v>
                </c:pt>
                <c:pt idx="152">
                  <c:v>9187</c:v>
                </c:pt>
                <c:pt idx="153">
                  <c:v>9182</c:v>
                </c:pt>
                <c:pt idx="154">
                  <c:v>9184</c:v>
                </c:pt>
                <c:pt idx="155">
                  <c:v>9174</c:v>
                </c:pt>
                <c:pt idx="156">
                  <c:v>9174</c:v>
                </c:pt>
                <c:pt idx="157">
                  <c:v>9167</c:v>
                </c:pt>
                <c:pt idx="158">
                  <c:v>9165</c:v>
                </c:pt>
                <c:pt idx="159">
                  <c:v>9153</c:v>
                </c:pt>
                <c:pt idx="160">
                  <c:v>9158</c:v>
                </c:pt>
                <c:pt idx="161">
                  <c:v>9153</c:v>
                </c:pt>
                <c:pt idx="162">
                  <c:v>9155</c:v>
                </c:pt>
                <c:pt idx="163">
                  <c:v>9152</c:v>
                </c:pt>
                <c:pt idx="164">
                  <c:v>9159</c:v>
                </c:pt>
                <c:pt idx="165">
                  <c:v>9154</c:v>
                </c:pt>
                <c:pt idx="166">
                  <c:v>9162</c:v>
                </c:pt>
                <c:pt idx="167">
                  <c:v>9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83-4251-B43D-E377475EA9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88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C$2:$C$169</c:f>
              <c:numCache>
                <c:formatCode>#,##0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83-4251-B43D-E377475EA9C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0183-4251-B43D-E377475EA9C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0183-4251-B43D-E377475EA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5075464"/>
        <c:axId val="463016912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Load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F$2:$F$169</c:f>
              <c:numCache>
                <c:formatCode>#,##0</c:formatCode>
                <c:ptCount val="168"/>
                <c:pt idx="0">
                  <c:v>9220</c:v>
                </c:pt>
                <c:pt idx="1">
                  <c:v>8981</c:v>
                </c:pt>
                <c:pt idx="2">
                  <c:v>8838</c:v>
                </c:pt>
                <c:pt idx="3">
                  <c:v>8815</c:v>
                </c:pt>
                <c:pt idx="4">
                  <c:v>9070</c:v>
                </c:pt>
                <c:pt idx="5">
                  <c:v>9726</c:v>
                </c:pt>
                <c:pt idx="6">
                  <c:v>10639</c:v>
                </c:pt>
                <c:pt idx="7">
                  <c:v>11146</c:v>
                </c:pt>
                <c:pt idx="8">
                  <c:v>11287</c:v>
                </c:pt>
                <c:pt idx="9">
                  <c:v>11332</c:v>
                </c:pt>
                <c:pt idx="10">
                  <c:v>11211</c:v>
                </c:pt>
                <c:pt idx="11">
                  <c:v>11030</c:v>
                </c:pt>
                <c:pt idx="12">
                  <c:v>10965</c:v>
                </c:pt>
                <c:pt idx="13">
                  <c:v>10875</c:v>
                </c:pt>
                <c:pt idx="14">
                  <c:v>10682</c:v>
                </c:pt>
                <c:pt idx="15">
                  <c:v>10538</c:v>
                </c:pt>
                <c:pt idx="16">
                  <c:v>10464</c:v>
                </c:pt>
                <c:pt idx="17">
                  <c:v>10428</c:v>
                </c:pt>
                <c:pt idx="18">
                  <c:v>10376</c:v>
                </c:pt>
                <c:pt idx="19">
                  <c:v>10645</c:v>
                </c:pt>
                <c:pt idx="20">
                  <c:v>10620</c:v>
                </c:pt>
                <c:pt idx="21">
                  <c:v>10200</c:v>
                </c:pt>
                <c:pt idx="22">
                  <c:v>9576</c:v>
                </c:pt>
                <c:pt idx="23">
                  <c:v>9038</c:v>
                </c:pt>
                <c:pt idx="24">
                  <c:v>8618</c:v>
                </c:pt>
                <c:pt idx="25">
                  <c:v>8382</c:v>
                </c:pt>
                <c:pt idx="26">
                  <c:v>8223</c:v>
                </c:pt>
                <c:pt idx="27">
                  <c:v>8170</c:v>
                </c:pt>
                <c:pt idx="28">
                  <c:v>8417</c:v>
                </c:pt>
                <c:pt idx="29">
                  <c:v>9076</c:v>
                </c:pt>
                <c:pt idx="30">
                  <c:v>10026</c:v>
                </c:pt>
                <c:pt idx="31">
                  <c:v>10608</c:v>
                </c:pt>
                <c:pt idx="32">
                  <c:v>10703</c:v>
                </c:pt>
                <c:pt idx="33">
                  <c:v>10776</c:v>
                </c:pt>
                <c:pt idx="34">
                  <c:v>10840</c:v>
                </c:pt>
                <c:pt idx="35">
                  <c:v>10748</c:v>
                </c:pt>
                <c:pt idx="36">
                  <c:v>10669</c:v>
                </c:pt>
                <c:pt idx="37">
                  <c:v>10634</c:v>
                </c:pt>
                <c:pt idx="38">
                  <c:v>10490</c:v>
                </c:pt>
                <c:pt idx="39">
                  <c:v>10350</c:v>
                </c:pt>
                <c:pt idx="40">
                  <c:v>10313</c:v>
                </c:pt>
                <c:pt idx="41">
                  <c:v>10248</c:v>
                </c:pt>
                <c:pt idx="42">
                  <c:v>10170</c:v>
                </c:pt>
                <c:pt idx="43">
                  <c:v>10353</c:v>
                </c:pt>
                <c:pt idx="44">
                  <c:v>10474</c:v>
                </c:pt>
                <c:pt idx="45">
                  <c:v>10194</c:v>
                </c:pt>
                <c:pt idx="46">
                  <c:v>9684</c:v>
                </c:pt>
                <c:pt idx="47">
                  <c:v>9187</c:v>
                </c:pt>
                <c:pt idx="48">
                  <c:v>8802</c:v>
                </c:pt>
                <c:pt idx="49">
                  <c:v>8585</c:v>
                </c:pt>
                <c:pt idx="50">
                  <c:v>8449</c:v>
                </c:pt>
                <c:pt idx="51">
                  <c:v>8415</c:v>
                </c:pt>
                <c:pt idx="52">
                  <c:v>8500</c:v>
                </c:pt>
                <c:pt idx="53">
                  <c:v>8789</c:v>
                </c:pt>
                <c:pt idx="54">
                  <c:v>9047</c:v>
                </c:pt>
                <c:pt idx="55">
                  <c:v>9302</c:v>
                </c:pt>
                <c:pt idx="56">
                  <c:v>9492</c:v>
                </c:pt>
                <c:pt idx="57">
                  <c:v>9579</c:v>
                </c:pt>
                <c:pt idx="58">
                  <c:v>9554</c:v>
                </c:pt>
                <c:pt idx="59">
                  <c:v>9468</c:v>
                </c:pt>
                <c:pt idx="60">
                  <c:v>9298</c:v>
                </c:pt>
                <c:pt idx="61">
                  <c:v>9075</c:v>
                </c:pt>
                <c:pt idx="62">
                  <c:v>8918</c:v>
                </c:pt>
                <c:pt idx="63">
                  <c:v>8743</c:v>
                </c:pt>
                <c:pt idx="64">
                  <c:v>8716</c:v>
                </c:pt>
                <c:pt idx="65">
                  <c:v>8702</c:v>
                </c:pt>
                <c:pt idx="66">
                  <c:v>8738</c:v>
                </c:pt>
                <c:pt idx="67">
                  <c:v>9059</c:v>
                </c:pt>
                <c:pt idx="68">
                  <c:v>9353</c:v>
                </c:pt>
                <c:pt idx="69">
                  <c:v>9238</c:v>
                </c:pt>
                <c:pt idx="70">
                  <c:v>8954</c:v>
                </c:pt>
                <c:pt idx="71">
                  <c:v>8561</c:v>
                </c:pt>
                <c:pt idx="72">
                  <c:v>8311</c:v>
                </c:pt>
                <c:pt idx="73">
                  <c:v>8126</c:v>
                </c:pt>
                <c:pt idx="74">
                  <c:v>7995</c:v>
                </c:pt>
                <c:pt idx="75">
                  <c:v>8005</c:v>
                </c:pt>
                <c:pt idx="76">
                  <c:v>8072</c:v>
                </c:pt>
                <c:pt idx="77">
                  <c:v>8237</c:v>
                </c:pt>
                <c:pt idx="78">
                  <c:v>8489</c:v>
                </c:pt>
                <c:pt idx="79">
                  <c:v>8663</c:v>
                </c:pt>
                <c:pt idx="80">
                  <c:v>9120</c:v>
                </c:pt>
                <c:pt idx="81">
                  <c:v>9473</c:v>
                </c:pt>
                <c:pt idx="82">
                  <c:v>9774</c:v>
                </c:pt>
                <c:pt idx="83">
                  <c:v>9926</c:v>
                </c:pt>
                <c:pt idx="84">
                  <c:v>10050</c:v>
                </c:pt>
                <c:pt idx="85">
                  <c:v>9916</c:v>
                </c:pt>
                <c:pt idx="86">
                  <c:v>9878</c:v>
                </c:pt>
                <c:pt idx="87">
                  <c:v>9766</c:v>
                </c:pt>
                <c:pt idx="88">
                  <c:v>9873</c:v>
                </c:pt>
                <c:pt idx="89">
                  <c:v>9943</c:v>
                </c:pt>
                <c:pt idx="90">
                  <c:v>10050</c:v>
                </c:pt>
                <c:pt idx="91">
                  <c:v>10294</c:v>
                </c:pt>
                <c:pt idx="92">
                  <c:v>10357</c:v>
                </c:pt>
                <c:pt idx="93">
                  <c:v>10078</c:v>
                </c:pt>
                <c:pt idx="94">
                  <c:v>9658</c:v>
                </c:pt>
                <c:pt idx="95">
                  <c:v>9190</c:v>
                </c:pt>
                <c:pt idx="96">
                  <c:v>8886</c:v>
                </c:pt>
                <c:pt idx="97">
                  <c:v>8744</c:v>
                </c:pt>
                <c:pt idx="98">
                  <c:v>8691</c:v>
                </c:pt>
                <c:pt idx="99">
                  <c:v>8722</c:v>
                </c:pt>
                <c:pt idx="100">
                  <c:v>9035</c:v>
                </c:pt>
                <c:pt idx="101">
                  <c:v>9798</c:v>
                </c:pt>
                <c:pt idx="102">
                  <c:v>10517</c:v>
                </c:pt>
                <c:pt idx="103">
                  <c:v>10963</c:v>
                </c:pt>
                <c:pt idx="104">
                  <c:v>11013</c:v>
                </c:pt>
                <c:pt idx="105">
                  <c:v>10956</c:v>
                </c:pt>
                <c:pt idx="106">
                  <c:v>10933</c:v>
                </c:pt>
                <c:pt idx="107">
                  <c:v>10849</c:v>
                </c:pt>
                <c:pt idx="108">
                  <c:v>10748</c:v>
                </c:pt>
                <c:pt idx="109">
                  <c:v>10706</c:v>
                </c:pt>
                <c:pt idx="110">
                  <c:v>10520</c:v>
                </c:pt>
                <c:pt idx="111">
                  <c:v>10355</c:v>
                </c:pt>
                <c:pt idx="112">
                  <c:v>10238</c:v>
                </c:pt>
                <c:pt idx="113">
                  <c:v>10234</c:v>
                </c:pt>
                <c:pt idx="114">
                  <c:v>10251</c:v>
                </c:pt>
                <c:pt idx="115">
                  <c:v>10570</c:v>
                </c:pt>
                <c:pt idx="116">
                  <c:v>10594</c:v>
                </c:pt>
                <c:pt idx="117">
                  <c:v>10216</c:v>
                </c:pt>
                <c:pt idx="118">
                  <c:v>9603</c:v>
                </c:pt>
                <c:pt idx="119">
                  <c:v>9059</c:v>
                </c:pt>
                <c:pt idx="120">
                  <c:v>8696</c:v>
                </c:pt>
                <c:pt idx="121">
                  <c:v>8511</c:v>
                </c:pt>
                <c:pt idx="122">
                  <c:v>8330</c:v>
                </c:pt>
                <c:pt idx="123">
                  <c:v>8301</c:v>
                </c:pt>
                <c:pt idx="124">
                  <c:v>8520</c:v>
                </c:pt>
                <c:pt idx="125">
                  <c:v>9137</c:v>
                </c:pt>
                <c:pt idx="126">
                  <c:v>9927</c:v>
                </c:pt>
                <c:pt idx="127">
                  <c:v>10405</c:v>
                </c:pt>
                <c:pt idx="128">
                  <c:v>10498</c:v>
                </c:pt>
                <c:pt idx="129">
                  <c:v>10528</c:v>
                </c:pt>
                <c:pt idx="130">
                  <c:v>10586</c:v>
                </c:pt>
                <c:pt idx="131">
                  <c:v>10621</c:v>
                </c:pt>
                <c:pt idx="132">
                  <c:v>10622</c:v>
                </c:pt>
                <c:pt idx="133">
                  <c:v>10705</c:v>
                </c:pt>
                <c:pt idx="134">
                  <c:v>10689</c:v>
                </c:pt>
                <c:pt idx="135">
                  <c:v>10567</c:v>
                </c:pt>
                <c:pt idx="136">
                  <c:v>10445</c:v>
                </c:pt>
                <c:pt idx="137">
                  <c:v>10267</c:v>
                </c:pt>
                <c:pt idx="138">
                  <c:v>10074</c:v>
                </c:pt>
                <c:pt idx="139">
                  <c:v>10241</c:v>
                </c:pt>
                <c:pt idx="140">
                  <c:v>10297</c:v>
                </c:pt>
                <c:pt idx="141">
                  <c:v>9847</c:v>
                </c:pt>
                <c:pt idx="142">
                  <c:v>9240</c:v>
                </c:pt>
                <c:pt idx="143">
                  <c:v>8724</c:v>
                </c:pt>
                <c:pt idx="144">
                  <c:v>8333</c:v>
                </c:pt>
                <c:pt idx="145">
                  <c:v>8105</c:v>
                </c:pt>
                <c:pt idx="146">
                  <c:v>7960</c:v>
                </c:pt>
                <c:pt idx="147">
                  <c:v>7952</c:v>
                </c:pt>
                <c:pt idx="148">
                  <c:v>8163</c:v>
                </c:pt>
                <c:pt idx="149">
                  <c:v>8807</c:v>
                </c:pt>
                <c:pt idx="150">
                  <c:v>9641</c:v>
                </c:pt>
                <c:pt idx="151">
                  <c:v>10231</c:v>
                </c:pt>
                <c:pt idx="152">
                  <c:v>10464</c:v>
                </c:pt>
                <c:pt idx="153">
                  <c:v>10545</c:v>
                </c:pt>
                <c:pt idx="154">
                  <c:v>10601</c:v>
                </c:pt>
                <c:pt idx="155">
                  <c:v>10578</c:v>
                </c:pt>
                <c:pt idx="156">
                  <c:v>10609</c:v>
                </c:pt>
                <c:pt idx="157">
                  <c:v>10754</c:v>
                </c:pt>
                <c:pt idx="158">
                  <c:v>10748</c:v>
                </c:pt>
                <c:pt idx="159">
                  <c:v>10674</c:v>
                </c:pt>
                <c:pt idx="160">
                  <c:v>10621</c:v>
                </c:pt>
                <c:pt idx="161">
                  <c:v>10528</c:v>
                </c:pt>
                <c:pt idx="162">
                  <c:v>10324</c:v>
                </c:pt>
                <c:pt idx="163">
                  <c:v>10498</c:v>
                </c:pt>
                <c:pt idx="164">
                  <c:v>10602</c:v>
                </c:pt>
                <c:pt idx="165">
                  <c:v>10179</c:v>
                </c:pt>
                <c:pt idx="166">
                  <c:v>9536</c:v>
                </c:pt>
                <c:pt idx="167">
                  <c:v>9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183-4251-B43D-E377475EA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5075464"/>
        <c:axId val="463016912"/>
      </c:lineChart>
      <c:catAx>
        <c:axId val="465075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016912"/>
        <c:crosses val="autoZero"/>
        <c:auto val="1"/>
        <c:lblAlgn val="ctr"/>
        <c:lblOffset val="100"/>
        <c:noMultiLvlLbl val="0"/>
      </c:catAx>
      <c:valAx>
        <c:axId val="463016912"/>
        <c:scaling>
          <c:orientation val="minMax"/>
          <c:max val="2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75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300" b="0" i="0" baseline="0" dirty="0">
                <a:effectLst/>
              </a:rPr>
              <a:t>ComEd Zone Hourly MW for April Week </a:t>
            </a:r>
          </a:p>
          <a:p>
            <a:pPr>
              <a:defRPr/>
            </a:pPr>
            <a:r>
              <a:rPr lang="en-US" sz="1300" b="0" i="0" baseline="0" dirty="0">
                <a:effectLst/>
              </a:rPr>
              <a:t>99% Zero-Emission Load</a:t>
            </a:r>
            <a:endParaRPr lang="en-US" sz="1300" dirty="0">
              <a:effectLst/>
            </a:endParaRPr>
          </a:p>
        </c:rich>
      </c:tx>
      <c:layout>
        <c:manualLayout>
          <c:xMode val="edge"/>
          <c:yMode val="edge"/>
          <c:x val="0.15735474650211523"/>
          <c:y val="2.77613589862863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B$2:$B$169</c:f>
              <c:numCache>
                <c:formatCode>#,##0</c:formatCode>
                <c:ptCount val="168"/>
                <c:pt idx="0">
                  <c:v>9181</c:v>
                </c:pt>
                <c:pt idx="1">
                  <c:v>9184</c:v>
                </c:pt>
                <c:pt idx="2">
                  <c:v>9191</c:v>
                </c:pt>
                <c:pt idx="3">
                  <c:v>9189</c:v>
                </c:pt>
                <c:pt idx="4">
                  <c:v>9190</c:v>
                </c:pt>
                <c:pt idx="5">
                  <c:v>9191</c:v>
                </c:pt>
                <c:pt idx="6">
                  <c:v>9198</c:v>
                </c:pt>
                <c:pt idx="7">
                  <c:v>9203</c:v>
                </c:pt>
                <c:pt idx="8">
                  <c:v>9198</c:v>
                </c:pt>
                <c:pt idx="9">
                  <c:v>9203</c:v>
                </c:pt>
                <c:pt idx="10">
                  <c:v>9203</c:v>
                </c:pt>
                <c:pt idx="11">
                  <c:v>9195</c:v>
                </c:pt>
                <c:pt idx="12">
                  <c:v>9200</c:v>
                </c:pt>
                <c:pt idx="13">
                  <c:v>9203</c:v>
                </c:pt>
                <c:pt idx="14">
                  <c:v>9199</c:v>
                </c:pt>
                <c:pt idx="15">
                  <c:v>9200</c:v>
                </c:pt>
                <c:pt idx="16">
                  <c:v>9199</c:v>
                </c:pt>
                <c:pt idx="17">
                  <c:v>9194</c:v>
                </c:pt>
                <c:pt idx="18">
                  <c:v>9196</c:v>
                </c:pt>
                <c:pt idx="19">
                  <c:v>9195</c:v>
                </c:pt>
                <c:pt idx="20">
                  <c:v>9198</c:v>
                </c:pt>
                <c:pt idx="21">
                  <c:v>9191</c:v>
                </c:pt>
                <c:pt idx="22">
                  <c:v>9197</c:v>
                </c:pt>
                <c:pt idx="23">
                  <c:v>9191</c:v>
                </c:pt>
                <c:pt idx="24">
                  <c:v>9196</c:v>
                </c:pt>
                <c:pt idx="25">
                  <c:v>9188</c:v>
                </c:pt>
                <c:pt idx="26">
                  <c:v>9203</c:v>
                </c:pt>
                <c:pt idx="27">
                  <c:v>9198</c:v>
                </c:pt>
                <c:pt idx="28">
                  <c:v>9200</c:v>
                </c:pt>
                <c:pt idx="29">
                  <c:v>9192</c:v>
                </c:pt>
                <c:pt idx="30">
                  <c:v>9196</c:v>
                </c:pt>
                <c:pt idx="31">
                  <c:v>9202</c:v>
                </c:pt>
                <c:pt idx="32">
                  <c:v>9200</c:v>
                </c:pt>
                <c:pt idx="33">
                  <c:v>9200</c:v>
                </c:pt>
                <c:pt idx="34">
                  <c:v>9202</c:v>
                </c:pt>
                <c:pt idx="35">
                  <c:v>9199</c:v>
                </c:pt>
                <c:pt idx="36">
                  <c:v>9202</c:v>
                </c:pt>
                <c:pt idx="37">
                  <c:v>9200</c:v>
                </c:pt>
                <c:pt idx="38">
                  <c:v>9202</c:v>
                </c:pt>
                <c:pt idx="39">
                  <c:v>9200</c:v>
                </c:pt>
                <c:pt idx="40">
                  <c:v>9203</c:v>
                </c:pt>
                <c:pt idx="41">
                  <c:v>9206</c:v>
                </c:pt>
                <c:pt idx="42">
                  <c:v>9198</c:v>
                </c:pt>
                <c:pt idx="43">
                  <c:v>9208</c:v>
                </c:pt>
                <c:pt idx="44">
                  <c:v>9207</c:v>
                </c:pt>
                <c:pt idx="45">
                  <c:v>9207</c:v>
                </c:pt>
                <c:pt idx="46">
                  <c:v>9209</c:v>
                </c:pt>
                <c:pt idx="47">
                  <c:v>9212</c:v>
                </c:pt>
                <c:pt idx="48">
                  <c:v>9205</c:v>
                </c:pt>
                <c:pt idx="49">
                  <c:v>9212</c:v>
                </c:pt>
                <c:pt idx="50">
                  <c:v>9206</c:v>
                </c:pt>
                <c:pt idx="51">
                  <c:v>9216</c:v>
                </c:pt>
                <c:pt idx="52">
                  <c:v>9212</c:v>
                </c:pt>
                <c:pt idx="53">
                  <c:v>9213</c:v>
                </c:pt>
                <c:pt idx="54">
                  <c:v>9208</c:v>
                </c:pt>
                <c:pt idx="55">
                  <c:v>9216</c:v>
                </c:pt>
                <c:pt idx="56">
                  <c:v>9212</c:v>
                </c:pt>
                <c:pt idx="57">
                  <c:v>9216</c:v>
                </c:pt>
                <c:pt idx="58">
                  <c:v>9209</c:v>
                </c:pt>
                <c:pt idx="59">
                  <c:v>9215</c:v>
                </c:pt>
                <c:pt idx="60">
                  <c:v>9212</c:v>
                </c:pt>
                <c:pt idx="61">
                  <c:v>9204</c:v>
                </c:pt>
                <c:pt idx="62">
                  <c:v>9207</c:v>
                </c:pt>
                <c:pt idx="63">
                  <c:v>9210</c:v>
                </c:pt>
                <c:pt idx="64">
                  <c:v>9203</c:v>
                </c:pt>
                <c:pt idx="65">
                  <c:v>9207</c:v>
                </c:pt>
                <c:pt idx="66">
                  <c:v>9204</c:v>
                </c:pt>
                <c:pt idx="67">
                  <c:v>9205</c:v>
                </c:pt>
                <c:pt idx="68">
                  <c:v>9209</c:v>
                </c:pt>
                <c:pt idx="69">
                  <c:v>9211</c:v>
                </c:pt>
                <c:pt idx="70">
                  <c:v>9207</c:v>
                </c:pt>
                <c:pt idx="71">
                  <c:v>9212</c:v>
                </c:pt>
                <c:pt idx="72">
                  <c:v>9214</c:v>
                </c:pt>
                <c:pt idx="73">
                  <c:v>9210</c:v>
                </c:pt>
                <c:pt idx="74">
                  <c:v>9210</c:v>
                </c:pt>
                <c:pt idx="75">
                  <c:v>9207</c:v>
                </c:pt>
                <c:pt idx="76">
                  <c:v>9219</c:v>
                </c:pt>
                <c:pt idx="77">
                  <c:v>9214</c:v>
                </c:pt>
                <c:pt idx="78">
                  <c:v>9221</c:v>
                </c:pt>
                <c:pt idx="79">
                  <c:v>9217</c:v>
                </c:pt>
                <c:pt idx="80">
                  <c:v>9217</c:v>
                </c:pt>
                <c:pt idx="81">
                  <c:v>9212</c:v>
                </c:pt>
                <c:pt idx="82">
                  <c:v>9221</c:v>
                </c:pt>
                <c:pt idx="83">
                  <c:v>9212</c:v>
                </c:pt>
                <c:pt idx="84">
                  <c:v>9225</c:v>
                </c:pt>
                <c:pt idx="85">
                  <c:v>9217</c:v>
                </c:pt>
                <c:pt idx="86">
                  <c:v>9213</c:v>
                </c:pt>
                <c:pt idx="87">
                  <c:v>9217</c:v>
                </c:pt>
                <c:pt idx="88">
                  <c:v>9222</c:v>
                </c:pt>
                <c:pt idx="89">
                  <c:v>9224</c:v>
                </c:pt>
                <c:pt idx="90">
                  <c:v>9223</c:v>
                </c:pt>
                <c:pt idx="91">
                  <c:v>9220</c:v>
                </c:pt>
                <c:pt idx="92">
                  <c:v>9222</c:v>
                </c:pt>
                <c:pt idx="93">
                  <c:v>9226</c:v>
                </c:pt>
                <c:pt idx="94">
                  <c:v>9224</c:v>
                </c:pt>
                <c:pt idx="95">
                  <c:v>9223</c:v>
                </c:pt>
                <c:pt idx="96">
                  <c:v>9229</c:v>
                </c:pt>
                <c:pt idx="97">
                  <c:v>9223</c:v>
                </c:pt>
                <c:pt idx="98">
                  <c:v>9224</c:v>
                </c:pt>
                <c:pt idx="99">
                  <c:v>9223</c:v>
                </c:pt>
                <c:pt idx="100">
                  <c:v>9220</c:v>
                </c:pt>
                <c:pt idx="101">
                  <c:v>9224</c:v>
                </c:pt>
                <c:pt idx="102">
                  <c:v>9225</c:v>
                </c:pt>
                <c:pt idx="103">
                  <c:v>9225</c:v>
                </c:pt>
                <c:pt idx="104">
                  <c:v>9220</c:v>
                </c:pt>
                <c:pt idx="105">
                  <c:v>9225</c:v>
                </c:pt>
                <c:pt idx="106">
                  <c:v>9225</c:v>
                </c:pt>
                <c:pt idx="107">
                  <c:v>9218</c:v>
                </c:pt>
                <c:pt idx="108">
                  <c:v>9211</c:v>
                </c:pt>
                <c:pt idx="109">
                  <c:v>9218</c:v>
                </c:pt>
                <c:pt idx="110">
                  <c:v>9215</c:v>
                </c:pt>
                <c:pt idx="111">
                  <c:v>9209</c:v>
                </c:pt>
                <c:pt idx="112">
                  <c:v>9215</c:v>
                </c:pt>
                <c:pt idx="113">
                  <c:v>9209</c:v>
                </c:pt>
                <c:pt idx="114">
                  <c:v>9215</c:v>
                </c:pt>
                <c:pt idx="115">
                  <c:v>9214</c:v>
                </c:pt>
                <c:pt idx="116">
                  <c:v>9206</c:v>
                </c:pt>
                <c:pt idx="117">
                  <c:v>9216</c:v>
                </c:pt>
                <c:pt idx="118">
                  <c:v>9203</c:v>
                </c:pt>
                <c:pt idx="119">
                  <c:v>9215</c:v>
                </c:pt>
                <c:pt idx="120">
                  <c:v>9211</c:v>
                </c:pt>
                <c:pt idx="121">
                  <c:v>9213</c:v>
                </c:pt>
                <c:pt idx="122">
                  <c:v>9209</c:v>
                </c:pt>
                <c:pt idx="123">
                  <c:v>9211</c:v>
                </c:pt>
                <c:pt idx="124">
                  <c:v>9211</c:v>
                </c:pt>
                <c:pt idx="125">
                  <c:v>9212</c:v>
                </c:pt>
                <c:pt idx="126">
                  <c:v>9208</c:v>
                </c:pt>
                <c:pt idx="127">
                  <c:v>9209</c:v>
                </c:pt>
                <c:pt idx="128">
                  <c:v>9203</c:v>
                </c:pt>
                <c:pt idx="129">
                  <c:v>9204</c:v>
                </c:pt>
                <c:pt idx="130">
                  <c:v>9202</c:v>
                </c:pt>
                <c:pt idx="131">
                  <c:v>9199</c:v>
                </c:pt>
                <c:pt idx="132">
                  <c:v>9191</c:v>
                </c:pt>
                <c:pt idx="133">
                  <c:v>9194</c:v>
                </c:pt>
                <c:pt idx="134">
                  <c:v>9192</c:v>
                </c:pt>
                <c:pt idx="135">
                  <c:v>9188</c:v>
                </c:pt>
                <c:pt idx="136">
                  <c:v>9183</c:v>
                </c:pt>
                <c:pt idx="137">
                  <c:v>9183</c:v>
                </c:pt>
                <c:pt idx="138">
                  <c:v>9187</c:v>
                </c:pt>
                <c:pt idx="139">
                  <c:v>9188</c:v>
                </c:pt>
                <c:pt idx="140">
                  <c:v>9190</c:v>
                </c:pt>
                <c:pt idx="141">
                  <c:v>9189</c:v>
                </c:pt>
                <c:pt idx="142">
                  <c:v>9186</c:v>
                </c:pt>
                <c:pt idx="143">
                  <c:v>9193</c:v>
                </c:pt>
                <c:pt idx="144">
                  <c:v>9194</c:v>
                </c:pt>
                <c:pt idx="145">
                  <c:v>9199</c:v>
                </c:pt>
                <c:pt idx="146">
                  <c:v>9191</c:v>
                </c:pt>
                <c:pt idx="147">
                  <c:v>9189</c:v>
                </c:pt>
                <c:pt idx="148">
                  <c:v>9193</c:v>
                </c:pt>
                <c:pt idx="149">
                  <c:v>9191</c:v>
                </c:pt>
                <c:pt idx="150">
                  <c:v>9188</c:v>
                </c:pt>
                <c:pt idx="151">
                  <c:v>9183</c:v>
                </c:pt>
                <c:pt idx="152">
                  <c:v>9187</c:v>
                </c:pt>
                <c:pt idx="153">
                  <c:v>9182</c:v>
                </c:pt>
                <c:pt idx="154">
                  <c:v>9184</c:v>
                </c:pt>
                <c:pt idx="155">
                  <c:v>9174</c:v>
                </c:pt>
                <c:pt idx="156">
                  <c:v>9174</c:v>
                </c:pt>
                <c:pt idx="157">
                  <c:v>9167</c:v>
                </c:pt>
                <c:pt idx="158">
                  <c:v>9165</c:v>
                </c:pt>
                <c:pt idx="159">
                  <c:v>9153</c:v>
                </c:pt>
                <c:pt idx="160">
                  <c:v>9158</c:v>
                </c:pt>
                <c:pt idx="161">
                  <c:v>9153</c:v>
                </c:pt>
                <c:pt idx="162">
                  <c:v>9155</c:v>
                </c:pt>
                <c:pt idx="163">
                  <c:v>9152</c:v>
                </c:pt>
                <c:pt idx="164">
                  <c:v>9159</c:v>
                </c:pt>
                <c:pt idx="165">
                  <c:v>9154</c:v>
                </c:pt>
                <c:pt idx="166">
                  <c:v>9162</c:v>
                </c:pt>
                <c:pt idx="167">
                  <c:v>9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83-4251-B43D-E377475EA9C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88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C$2:$C$169</c:f>
              <c:numCache>
                <c:formatCode>#,##0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83-4251-B43D-E377475EA9C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D$2:$D$169</c:f>
              <c:numCache>
                <c:formatCode>#,##0</c:formatCode>
                <c:ptCount val="168"/>
                <c:pt idx="0">
                  <c:v>3296</c:v>
                </c:pt>
                <c:pt idx="1">
                  <c:v>3299</c:v>
                </c:pt>
                <c:pt idx="2">
                  <c:v>3273</c:v>
                </c:pt>
                <c:pt idx="3">
                  <c:v>3280</c:v>
                </c:pt>
                <c:pt idx="4">
                  <c:v>3291</c:v>
                </c:pt>
                <c:pt idx="5">
                  <c:v>3333</c:v>
                </c:pt>
                <c:pt idx="6">
                  <c:v>3370</c:v>
                </c:pt>
                <c:pt idx="7">
                  <c:v>3392</c:v>
                </c:pt>
                <c:pt idx="8">
                  <c:v>3420</c:v>
                </c:pt>
                <c:pt idx="9">
                  <c:v>3288</c:v>
                </c:pt>
                <c:pt idx="10">
                  <c:v>3143</c:v>
                </c:pt>
                <c:pt idx="11">
                  <c:v>3060</c:v>
                </c:pt>
                <c:pt idx="12">
                  <c:v>3059</c:v>
                </c:pt>
                <c:pt idx="13">
                  <c:v>2847</c:v>
                </c:pt>
                <c:pt idx="14">
                  <c:v>2666</c:v>
                </c:pt>
                <c:pt idx="15">
                  <c:v>2777</c:v>
                </c:pt>
                <c:pt idx="16">
                  <c:v>2798</c:v>
                </c:pt>
                <c:pt idx="17">
                  <c:v>2787</c:v>
                </c:pt>
                <c:pt idx="18">
                  <c:v>2826</c:v>
                </c:pt>
                <c:pt idx="19">
                  <c:v>2695</c:v>
                </c:pt>
                <c:pt idx="20">
                  <c:v>2872</c:v>
                </c:pt>
                <c:pt idx="21">
                  <c:v>3058</c:v>
                </c:pt>
                <c:pt idx="22">
                  <c:v>3009</c:v>
                </c:pt>
                <c:pt idx="23">
                  <c:v>2657</c:v>
                </c:pt>
                <c:pt idx="24">
                  <c:v>2228</c:v>
                </c:pt>
                <c:pt idx="25">
                  <c:v>2436</c:v>
                </c:pt>
                <c:pt idx="26">
                  <c:v>2638</c:v>
                </c:pt>
                <c:pt idx="27">
                  <c:v>2269</c:v>
                </c:pt>
                <c:pt idx="28">
                  <c:v>2400</c:v>
                </c:pt>
                <c:pt idx="29">
                  <c:v>2674</c:v>
                </c:pt>
                <c:pt idx="30">
                  <c:v>2920</c:v>
                </c:pt>
                <c:pt idx="31">
                  <c:v>3123</c:v>
                </c:pt>
                <c:pt idx="32">
                  <c:v>3439</c:v>
                </c:pt>
                <c:pt idx="33">
                  <c:v>3500</c:v>
                </c:pt>
                <c:pt idx="34">
                  <c:v>3524</c:v>
                </c:pt>
                <c:pt idx="35">
                  <c:v>3522</c:v>
                </c:pt>
                <c:pt idx="36">
                  <c:v>3530</c:v>
                </c:pt>
                <c:pt idx="37">
                  <c:v>3515</c:v>
                </c:pt>
                <c:pt idx="38">
                  <c:v>3515</c:v>
                </c:pt>
                <c:pt idx="39">
                  <c:v>3516</c:v>
                </c:pt>
                <c:pt idx="40">
                  <c:v>3524</c:v>
                </c:pt>
                <c:pt idx="41">
                  <c:v>3503</c:v>
                </c:pt>
                <c:pt idx="42">
                  <c:v>3398</c:v>
                </c:pt>
                <c:pt idx="43">
                  <c:v>2758</c:v>
                </c:pt>
                <c:pt idx="44">
                  <c:v>2031</c:v>
                </c:pt>
                <c:pt idx="45">
                  <c:v>1866</c:v>
                </c:pt>
                <c:pt idx="46">
                  <c:v>1490</c:v>
                </c:pt>
                <c:pt idx="47">
                  <c:v>1364</c:v>
                </c:pt>
                <c:pt idx="48">
                  <c:v>1350</c:v>
                </c:pt>
                <c:pt idx="49">
                  <c:v>1458</c:v>
                </c:pt>
                <c:pt idx="50">
                  <c:v>1678</c:v>
                </c:pt>
                <c:pt idx="51">
                  <c:v>1919</c:v>
                </c:pt>
                <c:pt idx="52">
                  <c:v>1745</c:v>
                </c:pt>
                <c:pt idx="53">
                  <c:v>1556</c:v>
                </c:pt>
                <c:pt idx="54">
                  <c:v>1451</c:v>
                </c:pt>
                <c:pt idx="55">
                  <c:v>1167</c:v>
                </c:pt>
                <c:pt idx="56" formatCode="General">
                  <c:v>870</c:v>
                </c:pt>
                <c:pt idx="57">
                  <c:v>1162</c:v>
                </c:pt>
                <c:pt idx="58">
                  <c:v>1027</c:v>
                </c:pt>
                <c:pt idx="59" formatCode="General">
                  <c:v>956</c:v>
                </c:pt>
                <c:pt idx="60">
                  <c:v>1159</c:v>
                </c:pt>
                <c:pt idx="61">
                  <c:v>1181</c:v>
                </c:pt>
                <c:pt idx="62" formatCode="General">
                  <c:v>958</c:v>
                </c:pt>
                <c:pt idx="63" formatCode="General">
                  <c:v>764</c:v>
                </c:pt>
                <c:pt idx="64" formatCode="General">
                  <c:v>632</c:v>
                </c:pt>
                <c:pt idx="65" formatCode="General">
                  <c:v>424</c:v>
                </c:pt>
                <c:pt idx="66" formatCode="General">
                  <c:v>626</c:v>
                </c:pt>
                <c:pt idx="67" formatCode="General">
                  <c:v>827</c:v>
                </c:pt>
                <c:pt idx="68">
                  <c:v>1144</c:v>
                </c:pt>
                <c:pt idx="69">
                  <c:v>1824</c:v>
                </c:pt>
                <c:pt idx="70">
                  <c:v>1890</c:v>
                </c:pt>
                <c:pt idx="71">
                  <c:v>1686</c:v>
                </c:pt>
                <c:pt idx="72">
                  <c:v>2056</c:v>
                </c:pt>
                <c:pt idx="73">
                  <c:v>2150</c:v>
                </c:pt>
                <c:pt idx="74">
                  <c:v>2874</c:v>
                </c:pt>
                <c:pt idx="75">
                  <c:v>3285</c:v>
                </c:pt>
                <c:pt idx="76">
                  <c:v>3163</c:v>
                </c:pt>
                <c:pt idx="77">
                  <c:v>3060</c:v>
                </c:pt>
                <c:pt idx="78">
                  <c:v>2860</c:v>
                </c:pt>
                <c:pt idx="79">
                  <c:v>2940</c:v>
                </c:pt>
                <c:pt idx="80">
                  <c:v>3171</c:v>
                </c:pt>
                <c:pt idx="81">
                  <c:v>3270</c:v>
                </c:pt>
                <c:pt idx="82">
                  <c:v>3211</c:v>
                </c:pt>
                <c:pt idx="83">
                  <c:v>3205</c:v>
                </c:pt>
                <c:pt idx="84">
                  <c:v>3236</c:v>
                </c:pt>
                <c:pt idx="85">
                  <c:v>3287</c:v>
                </c:pt>
                <c:pt idx="86">
                  <c:v>3310</c:v>
                </c:pt>
                <c:pt idx="87">
                  <c:v>3223</c:v>
                </c:pt>
                <c:pt idx="88">
                  <c:v>3007</c:v>
                </c:pt>
                <c:pt idx="89">
                  <c:v>2660</c:v>
                </c:pt>
                <c:pt idx="90">
                  <c:v>2593</c:v>
                </c:pt>
                <c:pt idx="91">
                  <c:v>2344</c:v>
                </c:pt>
                <c:pt idx="92">
                  <c:v>1776</c:v>
                </c:pt>
                <c:pt idx="93">
                  <c:v>1571</c:v>
                </c:pt>
                <c:pt idx="94">
                  <c:v>1437</c:v>
                </c:pt>
                <c:pt idx="95">
                  <c:v>1285</c:v>
                </c:pt>
                <c:pt idx="96">
                  <c:v>1181</c:v>
                </c:pt>
                <c:pt idx="97">
                  <c:v>1194</c:v>
                </c:pt>
                <c:pt idx="98">
                  <c:v>1206</c:v>
                </c:pt>
                <c:pt idx="99">
                  <c:v>1020</c:v>
                </c:pt>
                <c:pt idx="100" formatCode="General">
                  <c:v>828</c:v>
                </c:pt>
                <c:pt idx="101" formatCode="General">
                  <c:v>805</c:v>
                </c:pt>
                <c:pt idx="102" formatCode="General">
                  <c:v>617</c:v>
                </c:pt>
                <c:pt idx="103" formatCode="General">
                  <c:v>385</c:v>
                </c:pt>
                <c:pt idx="104" formatCode="General">
                  <c:v>189</c:v>
                </c:pt>
                <c:pt idx="105" formatCode="General">
                  <c:v>209</c:v>
                </c:pt>
                <c:pt idx="106" formatCode="General">
                  <c:v>321</c:v>
                </c:pt>
                <c:pt idx="107" formatCode="General">
                  <c:v>398</c:v>
                </c:pt>
                <c:pt idx="108" formatCode="General">
                  <c:v>368</c:v>
                </c:pt>
                <c:pt idx="109" formatCode="General">
                  <c:v>524</c:v>
                </c:pt>
                <c:pt idx="110" formatCode="General">
                  <c:v>773</c:v>
                </c:pt>
                <c:pt idx="111">
                  <c:v>1193</c:v>
                </c:pt>
                <c:pt idx="112">
                  <c:v>1537</c:v>
                </c:pt>
                <c:pt idx="113">
                  <c:v>1993</c:v>
                </c:pt>
                <c:pt idx="114">
                  <c:v>2346</c:v>
                </c:pt>
                <c:pt idx="115">
                  <c:v>2600</c:v>
                </c:pt>
                <c:pt idx="116">
                  <c:v>2828</c:v>
                </c:pt>
                <c:pt idx="117">
                  <c:v>3120</c:v>
                </c:pt>
                <c:pt idx="118">
                  <c:v>3267</c:v>
                </c:pt>
                <c:pt idx="119">
                  <c:v>3358</c:v>
                </c:pt>
                <c:pt idx="120">
                  <c:v>3436</c:v>
                </c:pt>
                <c:pt idx="121">
                  <c:v>3412</c:v>
                </c:pt>
                <c:pt idx="122">
                  <c:v>3391</c:v>
                </c:pt>
                <c:pt idx="123">
                  <c:v>3314</c:v>
                </c:pt>
                <c:pt idx="124">
                  <c:v>3250</c:v>
                </c:pt>
                <c:pt idx="125">
                  <c:v>3195</c:v>
                </c:pt>
                <c:pt idx="126">
                  <c:v>3115</c:v>
                </c:pt>
                <c:pt idx="127">
                  <c:v>2999</c:v>
                </c:pt>
                <c:pt idx="128">
                  <c:v>2615</c:v>
                </c:pt>
                <c:pt idx="129">
                  <c:v>2316</c:v>
                </c:pt>
                <c:pt idx="130">
                  <c:v>2129</c:v>
                </c:pt>
                <c:pt idx="131">
                  <c:v>1846</c:v>
                </c:pt>
                <c:pt idx="132">
                  <c:v>1339</c:v>
                </c:pt>
                <c:pt idx="133" formatCode="General">
                  <c:v>970</c:v>
                </c:pt>
                <c:pt idx="134" formatCode="General">
                  <c:v>884</c:v>
                </c:pt>
                <c:pt idx="135" formatCode="General">
                  <c:v>950</c:v>
                </c:pt>
                <c:pt idx="136" formatCode="General">
                  <c:v>882</c:v>
                </c:pt>
                <c:pt idx="137" formatCode="General">
                  <c:v>623</c:v>
                </c:pt>
                <c:pt idx="138" formatCode="General">
                  <c:v>399</c:v>
                </c:pt>
                <c:pt idx="139" formatCode="General">
                  <c:v>338</c:v>
                </c:pt>
                <c:pt idx="140" formatCode="General">
                  <c:v>592</c:v>
                </c:pt>
                <c:pt idx="141">
                  <c:v>1093</c:v>
                </c:pt>
                <c:pt idx="142">
                  <c:v>1717</c:v>
                </c:pt>
                <c:pt idx="143">
                  <c:v>1826</c:v>
                </c:pt>
                <c:pt idx="144">
                  <c:v>1899</c:v>
                </c:pt>
                <c:pt idx="145">
                  <c:v>1890</c:v>
                </c:pt>
                <c:pt idx="146">
                  <c:v>1835</c:v>
                </c:pt>
                <c:pt idx="147">
                  <c:v>1690</c:v>
                </c:pt>
                <c:pt idx="148">
                  <c:v>1439</c:v>
                </c:pt>
                <c:pt idx="149">
                  <c:v>1186</c:v>
                </c:pt>
                <c:pt idx="150">
                  <c:v>1349</c:v>
                </c:pt>
                <c:pt idx="151">
                  <c:v>1386</c:v>
                </c:pt>
                <c:pt idx="152">
                  <c:v>1256</c:v>
                </c:pt>
                <c:pt idx="153">
                  <c:v>1033</c:v>
                </c:pt>
                <c:pt idx="154">
                  <c:v>1191</c:v>
                </c:pt>
                <c:pt idx="155">
                  <c:v>1499</c:v>
                </c:pt>
                <c:pt idx="156">
                  <c:v>1507</c:v>
                </c:pt>
                <c:pt idx="157">
                  <c:v>2251</c:v>
                </c:pt>
                <c:pt idx="158">
                  <c:v>3083</c:v>
                </c:pt>
                <c:pt idx="159">
                  <c:v>3209</c:v>
                </c:pt>
                <c:pt idx="160">
                  <c:v>3294</c:v>
                </c:pt>
                <c:pt idx="161">
                  <c:v>3336</c:v>
                </c:pt>
                <c:pt idx="162">
                  <c:v>3237</c:v>
                </c:pt>
                <c:pt idx="163">
                  <c:v>3419</c:v>
                </c:pt>
                <c:pt idx="164">
                  <c:v>3485</c:v>
                </c:pt>
                <c:pt idx="165">
                  <c:v>3392</c:v>
                </c:pt>
                <c:pt idx="166">
                  <c:v>3152</c:v>
                </c:pt>
                <c:pt idx="167">
                  <c:v>31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83-4251-B43D-E377475EA9C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0183-4251-B43D-E377475EA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3026712"/>
        <c:axId val="463023184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Load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F$2:$F$169</c:f>
              <c:numCache>
                <c:formatCode>#,##0</c:formatCode>
                <c:ptCount val="168"/>
                <c:pt idx="0">
                  <c:v>9220</c:v>
                </c:pt>
                <c:pt idx="1">
                  <c:v>8981</c:v>
                </c:pt>
                <c:pt idx="2">
                  <c:v>8838</c:v>
                </c:pt>
                <c:pt idx="3">
                  <c:v>8815</c:v>
                </c:pt>
                <c:pt idx="4">
                  <c:v>9070</c:v>
                </c:pt>
                <c:pt idx="5">
                  <c:v>9726</c:v>
                </c:pt>
                <c:pt idx="6">
                  <c:v>10639</c:v>
                </c:pt>
                <c:pt idx="7">
                  <c:v>11146</c:v>
                </c:pt>
                <c:pt idx="8">
                  <c:v>11287</c:v>
                </c:pt>
                <c:pt idx="9">
                  <c:v>11332</c:v>
                </c:pt>
                <c:pt idx="10">
                  <c:v>11211</c:v>
                </c:pt>
                <c:pt idx="11">
                  <c:v>11030</c:v>
                </c:pt>
                <c:pt idx="12">
                  <c:v>10965</c:v>
                </c:pt>
                <c:pt idx="13">
                  <c:v>10875</c:v>
                </c:pt>
                <c:pt idx="14">
                  <c:v>10682</c:v>
                </c:pt>
                <c:pt idx="15">
                  <c:v>10538</c:v>
                </c:pt>
                <c:pt idx="16">
                  <c:v>10464</c:v>
                </c:pt>
                <c:pt idx="17">
                  <c:v>10428</c:v>
                </c:pt>
                <c:pt idx="18">
                  <c:v>10376</c:v>
                </c:pt>
                <c:pt idx="19">
                  <c:v>10645</c:v>
                </c:pt>
                <c:pt idx="20">
                  <c:v>10620</c:v>
                </c:pt>
                <c:pt idx="21">
                  <c:v>10200</c:v>
                </c:pt>
                <c:pt idx="22">
                  <c:v>9576</c:v>
                </c:pt>
                <c:pt idx="23">
                  <c:v>9038</c:v>
                </c:pt>
                <c:pt idx="24">
                  <c:v>8618</c:v>
                </c:pt>
                <c:pt idx="25">
                  <c:v>8382</c:v>
                </c:pt>
                <c:pt idx="26">
                  <c:v>8223</c:v>
                </c:pt>
                <c:pt idx="27">
                  <c:v>8170</c:v>
                </c:pt>
                <c:pt idx="28">
                  <c:v>8417</c:v>
                </c:pt>
                <c:pt idx="29">
                  <c:v>9076</c:v>
                </c:pt>
                <c:pt idx="30">
                  <c:v>10026</c:v>
                </c:pt>
                <c:pt idx="31">
                  <c:v>10608</c:v>
                </c:pt>
                <c:pt idx="32">
                  <c:v>10703</c:v>
                </c:pt>
                <c:pt idx="33">
                  <c:v>10776</c:v>
                </c:pt>
                <c:pt idx="34">
                  <c:v>10840</c:v>
                </c:pt>
                <c:pt idx="35">
                  <c:v>10748</c:v>
                </c:pt>
                <c:pt idx="36">
                  <c:v>10669</c:v>
                </c:pt>
                <c:pt idx="37">
                  <c:v>10634</c:v>
                </c:pt>
                <c:pt idx="38">
                  <c:v>10490</c:v>
                </c:pt>
                <c:pt idx="39">
                  <c:v>10350</c:v>
                </c:pt>
                <c:pt idx="40">
                  <c:v>10313</c:v>
                </c:pt>
                <c:pt idx="41">
                  <c:v>10248</c:v>
                </c:pt>
                <c:pt idx="42">
                  <c:v>10170</c:v>
                </c:pt>
                <c:pt idx="43">
                  <c:v>10353</c:v>
                </c:pt>
                <c:pt idx="44">
                  <c:v>10474</c:v>
                </c:pt>
                <c:pt idx="45">
                  <c:v>10194</c:v>
                </c:pt>
                <c:pt idx="46">
                  <c:v>9684</c:v>
                </c:pt>
                <c:pt idx="47">
                  <c:v>9187</c:v>
                </c:pt>
                <c:pt idx="48">
                  <c:v>8802</c:v>
                </c:pt>
                <c:pt idx="49">
                  <c:v>8585</c:v>
                </c:pt>
                <c:pt idx="50">
                  <c:v>8449</c:v>
                </c:pt>
                <c:pt idx="51">
                  <c:v>8415</c:v>
                </c:pt>
                <c:pt idx="52">
                  <c:v>8500</c:v>
                </c:pt>
                <c:pt idx="53">
                  <c:v>8789</c:v>
                </c:pt>
                <c:pt idx="54">
                  <c:v>9047</c:v>
                </c:pt>
                <c:pt idx="55">
                  <c:v>9302</c:v>
                </c:pt>
                <c:pt idx="56">
                  <c:v>9492</c:v>
                </c:pt>
                <c:pt idx="57">
                  <c:v>9579</c:v>
                </c:pt>
                <c:pt idx="58">
                  <c:v>9554</c:v>
                </c:pt>
                <c:pt idx="59">
                  <c:v>9468</c:v>
                </c:pt>
                <c:pt idx="60">
                  <c:v>9298</c:v>
                </c:pt>
                <c:pt idx="61">
                  <c:v>9075</c:v>
                </c:pt>
                <c:pt idx="62">
                  <c:v>8918</c:v>
                </c:pt>
                <c:pt idx="63">
                  <c:v>8743</c:v>
                </c:pt>
                <c:pt idx="64">
                  <c:v>8716</c:v>
                </c:pt>
                <c:pt idx="65">
                  <c:v>8702</c:v>
                </c:pt>
                <c:pt idx="66">
                  <c:v>8738</c:v>
                </c:pt>
                <c:pt idx="67">
                  <c:v>9059</c:v>
                </c:pt>
                <c:pt idx="68">
                  <c:v>9353</c:v>
                </c:pt>
                <c:pt idx="69">
                  <c:v>9238</c:v>
                </c:pt>
                <c:pt idx="70">
                  <c:v>8954</c:v>
                </c:pt>
                <c:pt idx="71">
                  <c:v>8561</c:v>
                </c:pt>
                <c:pt idx="72">
                  <c:v>8311</c:v>
                </c:pt>
                <c:pt idx="73">
                  <c:v>8126</c:v>
                </c:pt>
                <c:pt idx="74">
                  <c:v>7995</c:v>
                </c:pt>
                <c:pt idx="75">
                  <c:v>8005</c:v>
                </c:pt>
                <c:pt idx="76">
                  <c:v>8072</c:v>
                </c:pt>
                <c:pt idx="77">
                  <c:v>8237</c:v>
                </c:pt>
                <c:pt idx="78">
                  <c:v>8489</c:v>
                </c:pt>
                <c:pt idx="79">
                  <c:v>8663</c:v>
                </c:pt>
                <c:pt idx="80">
                  <c:v>9120</c:v>
                </c:pt>
                <c:pt idx="81">
                  <c:v>9473</c:v>
                </c:pt>
                <c:pt idx="82">
                  <c:v>9774</c:v>
                </c:pt>
                <c:pt idx="83">
                  <c:v>9926</c:v>
                </c:pt>
                <c:pt idx="84">
                  <c:v>10050</c:v>
                </c:pt>
                <c:pt idx="85">
                  <c:v>9916</c:v>
                </c:pt>
                <c:pt idx="86">
                  <c:v>9878</c:v>
                </c:pt>
                <c:pt idx="87">
                  <c:v>9766</c:v>
                </c:pt>
                <c:pt idx="88">
                  <c:v>9873</c:v>
                </c:pt>
                <c:pt idx="89">
                  <c:v>9943</c:v>
                </c:pt>
                <c:pt idx="90">
                  <c:v>10050</c:v>
                </c:pt>
                <c:pt idx="91">
                  <c:v>10294</c:v>
                </c:pt>
                <c:pt idx="92">
                  <c:v>10357</c:v>
                </c:pt>
                <c:pt idx="93">
                  <c:v>10078</c:v>
                </c:pt>
                <c:pt idx="94">
                  <c:v>9658</c:v>
                </c:pt>
                <c:pt idx="95">
                  <c:v>9190</c:v>
                </c:pt>
                <c:pt idx="96">
                  <c:v>8886</c:v>
                </c:pt>
                <c:pt idx="97">
                  <c:v>8744</c:v>
                </c:pt>
                <c:pt idx="98">
                  <c:v>8691</c:v>
                </c:pt>
                <c:pt idx="99">
                  <c:v>8722</c:v>
                </c:pt>
                <c:pt idx="100">
                  <c:v>9035</c:v>
                </c:pt>
                <c:pt idx="101">
                  <c:v>9798</c:v>
                </c:pt>
                <c:pt idx="102">
                  <c:v>10517</c:v>
                </c:pt>
                <c:pt idx="103">
                  <c:v>10963</c:v>
                </c:pt>
                <c:pt idx="104">
                  <c:v>11013</c:v>
                </c:pt>
                <c:pt idx="105">
                  <c:v>10956</c:v>
                </c:pt>
                <c:pt idx="106">
                  <c:v>10933</c:v>
                </c:pt>
                <c:pt idx="107">
                  <c:v>10849</c:v>
                </c:pt>
                <c:pt idx="108">
                  <c:v>10748</c:v>
                </c:pt>
                <c:pt idx="109">
                  <c:v>10706</c:v>
                </c:pt>
                <c:pt idx="110">
                  <c:v>10520</c:v>
                </c:pt>
                <c:pt idx="111">
                  <c:v>10355</c:v>
                </c:pt>
                <c:pt idx="112">
                  <c:v>10238</c:v>
                </c:pt>
                <c:pt idx="113">
                  <c:v>10234</c:v>
                </c:pt>
                <c:pt idx="114">
                  <c:v>10251</c:v>
                </c:pt>
                <c:pt idx="115">
                  <c:v>10570</c:v>
                </c:pt>
                <c:pt idx="116">
                  <c:v>10594</c:v>
                </c:pt>
                <c:pt idx="117">
                  <c:v>10216</c:v>
                </c:pt>
                <c:pt idx="118">
                  <c:v>9603</c:v>
                </c:pt>
                <c:pt idx="119">
                  <c:v>9059</c:v>
                </c:pt>
                <c:pt idx="120">
                  <c:v>8696</c:v>
                </c:pt>
                <c:pt idx="121">
                  <c:v>8511</c:v>
                </c:pt>
                <c:pt idx="122">
                  <c:v>8330</c:v>
                </c:pt>
                <c:pt idx="123">
                  <c:v>8301</c:v>
                </c:pt>
                <c:pt idx="124">
                  <c:v>8520</c:v>
                </c:pt>
                <c:pt idx="125">
                  <c:v>9137</c:v>
                </c:pt>
                <c:pt idx="126">
                  <c:v>9927</c:v>
                </c:pt>
                <c:pt idx="127">
                  <c:v>10405</c:v>
                </c:pt>
                <c:pt idx="128">
                  <c:v>10498</c:v>
                </c:pt>
                <c:pt idx="129">
                  <c:v>10528</c:v>
                </c:pt>
                <c:pt idx="130">
                  <c:v>10586</c:v>
                </c:pt>
                <c:pt idx="131">
                  <c:v>10621</c:v>
                </c:pt>
                <c:pt idx="132">
                  <c:v>10622</c:v>
                </c:pt>
                <c:pt idx="133">
                  <c:v>10705</c:v>
                </c:pt>
                <c:pt idx="134">
                  <c:v>10689</c:v>
                </c:pt>
                <c:pt idx="135">
                  <c:v>10567</c:v>
                </c:pt>
                <c:pt idx="136">
                  <c:v>10445</c:v>
                </c:pt>
                <c:pt idx="137">
                  <c:v>10267</c:v>
                </c:pt>
                <c:pt idx="138">
                  <c:v>10074</c:v>
                </c:pt>
                <c:pt idx="139">
                  <c:v>10241</c:v>
                </c:pt>
                <c:pt idx="140">
                  <c:v>10297</c:v>
                </c:pt>
                <c:pt idx="141">
                  <c:v>9847</c:v>
                </c:pt>
                <c:pt idx="142">
                  <c:v>9240</c:v>
                </c:pt>
                <c:pt idx="143">
                  <c:v>8724</c:v>
                </c:pt>
                <c:pt idx="144">
                  <c:v>8333</c:v>
                </c:pt>
                <c:pt idx="145">
                  <c:v>8105</c:v>
                </c:pt>
                <c:pt idx="146">
                  <c:v>7960</c:v>
                </c:pt>
                <c:pt idx="147">
                  <c:v>7952</c:v>
                </c:pt>
                <c:pt idx="148">
                  <c:v>8163</c:v>
                </c:pt>
                <c:pt idx="149">
                  <c:v>8807</c:v>
                </c:pt>
                <c:pt idx="150">
                  <c:v>9641</c:v>
                </c:pt>
                <c:pt idx="151">
                  <c:v>10231</c:v>
                </c:pt>
                <c:pt idx="152">
                  <c:v>10464</c:v>
                </c:pt>
                <c:pt idx="153">
                  <c:v>10545</c:v>
                </c:pt>
                <c:pt idx="154">
                  <c:v>10601</c:v>
                </c:pt>
                <c:pt idx="155">
                  <c:v>10578</c:v>
                </c:pt>
                <c:pt idx="156">
                  <c:v>10609</c:v>
                </c:pt>
                <c:pt idx="157">
                  <c:v>10754</c:v>
                </c:pt>
                <c:pt idx="158">
                  <c:v>10748</c:v>
                </c:pt>
                <c:pt idx="159">
                  <c:v>10674</c:v>
                </c:pt>
                <c:pt idx="160">
                  <c:v>10621</c:v>
                </c:pt>
                <c:pt idx="161">
                  <c:v>10528</c:v>
                </c:pt>
                <c:pt idx="162">
                  <c:v>10324</c:v>
                </c:pt>
                <c:pt idx="163">
                  <c:v>10498</c:v>
                </c:pt>
                <c:pt idx="164">
                  <c:v>10602</c:v>
                </c:pt>
                <c:pt idx="165">
                  <c:v>10179</c:v>
                </c:pt>
                <c:pt idx="166">
                  <c:v>9536</c:v>
                </c:pt>
                <c:pt idx="167">
                  <c:v>9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183-4251-B43D-E377475EA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3026712"/>
        <c:axId val="463023184"/>
      </c:lineChart>
      <c:catAx>
        <c:axId val="463026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023184"/>
        <c:crosses val="autoZero"/>
        <c:auto val="1"/>
        <c:lblAlgn val="ctr"/>
        <c:lblOffset val="100"/>
        <c:noMultiLvlLbl val="0"/>
      </c:catAx>
      <c:valAx>
        <c:axId val="463023184"/>
        <c:scaling>
          <c:orientation val="minMax"/>
          <c:max val="2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3026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Path To 100 Targets Hourly MW For April Week</a:t>
            </a:r>
          </a:p>
        </c:rich>
      </c:tx>
      <c:layout>
        <c:manualLayout>
          <c:xMode val="edge"/>
          <c:yMode val="edge"/>
          <c:x val="0.10026688140852671"/>
          <c:y val="2.49670600817119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19770304910955"/>
          <c:y val="0.19695187801221134"/>
          <c:w val="0.81509376686454393"/>
          <c:h val="0.642776634151967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B$2:$B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0-1241-4602-9258-A76CF9AB45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1-1241-4602-9258-A76CF9AB45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1241-4602-9258-A76CF9AB45C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1241-4602-9258-A76CF9AB45C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4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30128184"/>
        <c:axId val="93013092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241-4602-9258-A76CF9AB45C7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H$2:$H$169</c:f>
              <c:numCache>
                <c:formatCode>_(* #,##0_);_(* \(#,##0\);_(* "-"??_);_(@_)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30128184"/>
        <c:axId val="930130928"/>
      </c:lineChart>
      <c:catAx>
        <c:axId val="930128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0130928"/>
        <c:crosses val="autoZero"/>
        <c:auto val="1"/>
        <c:lblAlgn val="ctr"/>
        <c:lblOffset val="100"/>
        <c:noMultiLvlLbl val="0"/>
      </c:catAx>
      <c:valAx>
        <c:axId val="930130928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0128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6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CJC Targets Hourly MW for April Week</a:t>
            </a:r>
          </a:p>
        </c:rich>
      </c:tx>
      <c:layout>
        <c:manualLayout>
          <c:xMode val="edge"/>
          <c:yMode val="edge"/>
          <c:x val="0.1594028424299774"/>
          <c:y val="2.21929374471525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3455383705208"/>
          <c:y val="0.19998545226738207"/>
          <c:w val="0.82639774474876027"/>
          <c:h val="0.633885120531022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B$2:$B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0-8615-4A4A-B116-48867BB5BB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1-8615-4A4A-B116-48867BB5BB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8615-4A4A-B116-48867BB5BB2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8615-4A4A-B116-48867BB5BB2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4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25049936"/>
        <c:axId val="52504836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615-4A4A-B116-48867BB5BB2F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H$2:$H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5049936"/>
        <c:axId val="525048368"/>
      </c:lineChart>
      <c:catAx>
        <c:axId val="525049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5048368"/>
        <c:crosses val="autoZero"/>
        <c:auto val="1"/>
        <c:lblAlgn val="ctr"/>
        <c:lblOffset val="100"/>
        <c:noMultiLvlLbl val="0"/>
      </c:catAx>
      <c:valAx>
        <c:axId val="525048368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50499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6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Path To 100 Targets Hourly MW For April Week</a:t>
            </a:r>
          </a:p>
        </c:rich>
      </c:tx>
      <c:layout>
        <c:manualLayout>
          <c:xMode val="edge"/>
          <c:yMode val="edge"/>
          <c:x val="0.10026688140852671"/>
          <c:y val="2.49670600817119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19770304910955"/>
          <c:y val="0.19695187801221134"/>
          <c:w val="0.81509376686454393"/>
          <c:h val="0.642776634151967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1.5</c:v>
                </c:pt>
                <c:pt idx="2">
                  <c:v>7345</c:v>
                </c:pt>
                <c:pt idx="3">
                  <c:v>7343.25</c:v>
                </c:pt>
                <c:pt idx="4">
                  <c:v>7342.25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.25</c:v>
                </c:pt>
                <c:pt idx="9">
                  <c:v>7350</c:v>
                </c:pt>
                <c:pt idx="10">
                  <c:v>7351.75</c:v>
                </c:pt>
                <c:pt idx="11">
                  <c:v>7342</c:v>
                </c:pt>
                <c:pt idx="12">
                  <c:v>7345.75</c:v>
                </c:pt>
                <c:pt idx="13">
                  <c:v>7348</c:v>
                </c:pt>
                <c:pt idx="14">
                  <c:v>7346.25</c:v>
                </c:pt>
                <c:pt idx="15">
                  <c:v>7345.25</c:v>
                </c:pt>
                <c:pt idx="16">
                  <c:v>7346</c:v>
                </c:pt>
                <c:pt idx="17">
                  <c:v>7339</c:v>
                </c:pt>
                <c:pt idx="18">
                  <c:v>7343.75</c:v>
                </c:pt>
                <c:pt idx="19">
                  <c:v>7341</c:v>
                </c:pt>
                <c:pt idx="20">
                  <c:v>7344.5</c:v>
                </c:pt>
                <c:pt idx="21">
                  <c:v>7339</c:v>
                </c:pt>
                <c:pt idx="22">
                  <c:v>7343.5</c:v>
                </c:pt>
                <c:pt idx="23">
                  <c:v>7337.25</c:v>
                </c:pt>
                <c:pt idx="24">
                  <c:v>7342.5</c:v>
                </c:pt>
                <c:pt idx="25">
                  <c:v>7337.25</c:v>
                </c:pt>
                <c:pt idx="26">
                  <c:v>7349.75</c:v>
                </c:pt>
                <c:pt idx="27">
                  <c:v>7345.25</c:v>
                </c:pt>
                <c:pt idx="28">
                  <c:v>7344.75</c:v>
                </c:pt>
                <c:pt idx="29">
                  <c:v>7343.25</c:v>
                </c:pt>
                <c:pt idx="30">
                  <c:v>7344.25</c:v>
                </c:pt>
                <c:pt idx="31">
                  <c:v>7348.25</c:v>
                </c:pt>
                <c:pt idx="32">
                  <c:v>7346.5</c:v>
                </c:pt>
                <c:pt idx="33">
                  <c:v>7345.75</c:v>
                </c:pt>
                <c:pt idx="34">
                  <c:v>7349.75</c:v>
                </c:pt>
                <c:pt idx="35">
                  <c:v>7345.25</c:v>
                </c:pt>
                <c:pt idx="36">
                  <c:v>7348</c:v>
                </c:pt>
                <c:pt idx="37">
                  <c:v>7346.5</c:v>
                </c:pt>
                <c:pt idx="38">
                  <c:v>7349.5</c:v>
                </c:pt>
                <c:pt idx="39">
                  <c:v>7348</c:v>
                </c:pt>
                <c:pt idx="40">
                  <c:v>7348.5</c:v>
                </c:pt>
                <c:pt idx="41">
                  <c:v>7351.25</c:v>
                </c:pt>
                <c:pt idx="42">
                  <c:v>7343.5</c:v>
                </c:pt>
                <c:pt idx="43">
                  <c:v>7351.75</c:v>
                </c:pt>
                <c:pt idx="44">
                  <c:v>7351</c:v>
                </c:pt>
                <c:pt idx="45">
                  <c:v>7351.5</c:v>
                </c:pt>
                <c:pt idx="46">
                  <c:v>7351.5</c:v>
                </c:pt>
                <c:pt idx="47">
                  <c:v>7355</c:v>
                </c:pt>
                <c:pt idx="48">
                  <c:v>7350</c:v>
                </c:pt>
                <c:pt idx="49">
                  <c:v>7353.5</c:v>
                </c:pt>
                <c:pt idx="50">
                  <c:v>7348.75</c:v>
                </c:pt>
                <c:pt idx="51">
                  <c:v>7358.5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5.5</c:v>
                </c:pt>
                <c:pt idx="57">
                  <c:v>7358</c:v>
                </c:pt>
                <c:pt idx="58">
                  <c:v>7353.25</c:v>
                </c:pt>
                <c:pt idx="59">
                  <c:v>7360.25</c:v>
                </c:pt>
                <c:pt idx="60">
                  <c:v>7356</c:v>
                </c:pt>
                <c:pt idx="61">
                  <c:v>7350.25</c:v>
                </c:pt>
                <c:pt idx="62">
                  <c:v>7350</c:v>
                </c:pt>
                <c:pt idx="63">
                  <c:v>7355.5</c:v>
                </c:pt>
                <c:pt idx="64">
                  <c:v>7348.25</c:v>
                </c:pt>
                <c:pt idx="65">
                  <c:v>7353.25</c:v>
                </c:pt>
                <c:pt idx="66">
                  <c:v>7350.75</c:v>
                </c:pt>
                <c:pt idx="67">
                  <c:v>7350.25</c:v>
                </c:pt>
                <c:pt idx="68">
                  <c:v>7353.75</c:v>
                </c:pt>
                <c:pt idx="69">
                  <c:v>7355.5</c:v>
                </c:pt>
                <c:pt idx="70">
                  <c:v>7350.5</c:v>
                </c:pt>
                <c:pt idx="71">
                  <c:v>7355.5</c:v>
                </c:pt>
                <c:pt idx="72">
                  <c:v>7357</c:v>
                </c:pt>
                <c:pt idx="73">
                  <c:v>7354.25</c:v>
                </c:pt>
                <c:pt idx="74">
                  <c:v>7352</c:v>
                </c:pt>
                <c:pt idx="75">
                  <c:v>7352.5</c:v>
                </c:pt>
                <c:pt idx="76">
                  <c:v>7359.75</c:v>
                </c:pt>
                <c:pt idx="77">
                  <c:v>7353.75</c:v>
                </c:pt>
                <c:pt idx="78">
                  <c:v>7361</c:v>
                </c:pt>
                <c:pt idx="79">
                  <c:v>7354</c:v>
                </c:pt>
                <c:pt idx="80">
                  <c:v>7356.5</c:v>
                </c:pt>
                <c:pt idx="81">
                  <c:v>7350.5</c:v>
                </c:pt>
                <c:pt idx="82">
                  <c:v>7357.75</c:v>
                </c:pt>
                <c:pt idx="83">
                  <c:v>7350.25</c:v>
                </c:pt>
                <c:pt idx="84">
                  <c:v>7361.75</c:v>
                </c:pt>
                <c:pt idx="85">
                  <c:v>7357.5</c:v>
                </c:pt>
                <c:pt idx="86">
                  <c:v>7353.25</c:v>
                </c:pt>
                <c:pt idx="87">
                  <c:v>7354</c:v>
                </c:pt>
                <c:pt idx="88">
                  <c:v>7360</c:v>
                </c:pt>
                <c:pt idx="89">
                  <c:v>7359.5</c:v>
                </c:pt>
                <c:pt idx="90">
                  <c:v>7360.5</c:v>
                </c:pt>
                <c:pt idx="91">
                  <c:v>7356</c:v>
                </c:pt>
                <c:pt idx="92">
                  <c:v>7357.5</c:v>
                </c:pt>
                <c:pt idx="93">
                  <c:v>7359.5</c:v>
                </c:pt>
                <c:pt idx="94">
                  <c:v>7357</c:v>
                </c:pt>
                <c:pt idx="95">
                  <c:v>7357</c:v>
                </c:pt>
                <c:pt idx="96">
                  <c:v>7361.5</c:v>
                </c:pt>
                <c:pt idx="97">
                  <c:v>7358</c:v>
                </c:pt>
                <c:pt idx="98">
                  <c:v>7358</c:v>
                </c:pt>
                <c:pt idx="99">
                  <c:v>7356.75</c:v>
                </c:pt>
                <c:pt idx="100">
                  <c:v>7356</c:v>
                </c:pt>
                <c:pt idx="101">
                  <c:v>7359</c:v>
                </c:pt>
                <c:pt idx="102">
                  <c:v>7361.25</c:v>
                </c:pt>
                <c:pt idx="103">
                  <c:v>7357.5</c:v>
                </c:pt>
                <c:pt idx="104">
                  <c:v>7355.5</c:v>
                </c:pt>
                <c:pt idx="105">
                  <c:v>7361.5</c:v>
                </c:pt>
                <c:pt idx="106">
                  <c:v>7360.75</c:v>
                </c:pt>
                <c:pt idx="107">
                  <c:v>7355.5</c:v>
                </c:pt>
                <c:pt idx="108">
                  <c:v>7350.25</c:v>
                </c:pt>
                <c:pt idx="109">
                  <c:v>7356.75</c:v>
                </c:pt>
                <c:pt idx="110">
                  <c:v>7355.25</c:v>
                </c:pt>
                <c:pt idx="111">
                  <c:v>7352</c:v>
                </c:pt>
                <c:pt idx="112">
                  <c:v>7353.75</c:v>
                </c:pt>
                <c:pt idx="113">
                  <c:v>7352.25</c:v>
                </c:pt>
                <c:pt idx="114">
                  <c:v>7355.5</c:v>
                </c:pt>
                <c:pt idx="115">
                  <c:v>7355.75</c:v>
                </c:pt>
                <c:pt idx="116">
                  <c:v>7347.75</c:v>
                </c:pt>
                <c:pt idx="117">
                  <c:v>7356</c:v>
                </c:pt>
                <c:pt idx="118">
                  <c:v>7344.25</c:v>
                </c:pt>
                <c:pt idx="119">
                  <c:v>7354.75</c:v>
                </c:pt>
                <c:pt idx="120">
                  <c:v>7352</c:v>
                </c:pt>
                <c:pt idx="121">
                  <c:v>7353</c:v>
                </c:pt>
                <c:pt idx="122">
                  <c:v>7350.75</c:v>
                </c:pt>
                <c:pt idx="123">
                  <c:v>7352.5</c:v>
                </c:pt>
                <c:pt idx="124">
                  <c:v>7352</c:v>
                </c:pt>
                <c:pt idx="125">
                  <c:v>7353.5</c:v>
                </c:pt>
                <c:pt idx="126">
                  <c:v>7349.75</c:v>
                </c:pt>
                <c:pt idx="127">
                  <c:v>7351.75</c:v>
                </c:pt>
                <c:pt idx="128">
                  <c:v>7346.25</c:v>
                </c:pt>
                <c:pt idx="129">
                  <c:v>7346.5</c:v>
                </c:pt>
                <c:pt idx="130">
                  <c:v>7344</c:v>
                </c:pt>
                <c:pt idx="131">
                  <c:v>7342.5</c:v>
                </c:pt>
                <c:pt idx="132">
                  <c:v>7339.25</c:v>
                </c:pt>
                <c:pt idx="133">
                  <c:v>7338.5</c:v>
                </c:pt>
                <c:pt idx="134">
                  <c:v>7339.25</c:v>
                </c:pt>
                <c:pt idx="135">
                  <c:v>7336.5</c:v>
                </c:pt>
                <c:pt idx="136">
                  <c:v>7331.5</c:v>
                </c:pt>
                <c:pt idx="137">
                  <c:v>7334.25</c:v>
                </c:pt>
                <c:pt idx="138">
                  <c:v>7336.5</c:v>
                </c:pt>
                <c:pt idx="139">
                  <c:v>7338.75</c:v>
                </c:pt>
                <c:pt idx="140">
                  <c:v>7342.5</c:v>
                </c:pt>
                <c:pt idx="141">
                  <c:v>7339.75</c:v>
                </c:pt>
                <c:pt idx="142">
                  <c:v>7339.5</c:v>
                </c:pt>
                <c:pt idx="143">
                  <c:v>7343.5</c:v>
                </c:pt>
                <c:pt idx="144">
                  <c:v>7347.5</c:v>
                </c:pt>
                <c:pt idx="145">
                  <c:v>7348.75</c:v>
                </c:pt>
                <c:pt idx="146">
                  <c:v>7341.25</c:v>
                </c:pt>
                <c:pt idx="147">
                  <c:v>7340.75</c:v>
                </c:pt>
                <c:pt idx="148">
                  <c:v>7344.75</c:v>
                </c:pt>
                <c:pt idx="149">
                  <c:v>7343.75</c:v>
                </c:pt>
                <c:pt idx="150">
                  <c:v>7339.75</c:v>
                </c:pt>
                <c:pt idx="151">
                  <c:v>7337.5</c:v>
                </c:pt>
                <c:pt idx="152">
                  <c:v>7339.5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.25</c:v>
                </c:pt>
                <c:pt idx="157">
                  <c:v>7326.5</c:v>
                </c:pt>
                <c:pt idx="158">
                  <c:v>7325.5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.25</c:v>
                </c:pt>
                <c:pt idx="164">
                  <c:v>7319.5</c:v>
                </c:pt>
                <c:pt idx="165">
                  <c:v>7315.75</c:v>
                </c:pt>
                <c:pt idx="166">
                  <c:v>7321</c:v>
                </c:pt>
                <c:pt idx="167">
                  <c:v>787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41-4602-9258-A76CF9AB45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1-1241-4602-9258-A76CF9AB45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1241-4602-9258-A76CF9AB45C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1241-4602-9258-A76CF9AB45C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4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9176032"/>
        <c:axId val="509176424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241-4602-9258-A76CF9AB45C7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H$2:$H$169</c:f>
              <c:numCache>
                <c:formatCode>_(* #,##0_);_(* \(#,##0\);_(* "-"??_);_(@_)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9176032"/>
        <c:axId val="509176424"/>
      </c:lineChart>
      <c:catAx>
        <c:axId val="509176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9176424"/>
        <c:crosses val="autoZero"/>
        <c:auto val="1"/>
        <c:lblAlgn val="ctr"/>
        <c:lblOffset val="100"/>
        <c:noMultiLvlLbl val="0"/>
      </c:catAx>
      <c:valAx>
        <c:axId val="509176424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9176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6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CJC Targets Hourly MW for April Week</a:t>
            </a:r>
          </a:p>
        </c:rich>
      </c:tx>
      <c:layout>
        <c:manualLayout>
          <c:xMode val="edge"/>
          <c:yMode val="edge"/>
          <c:x val="0.1594028424299774"/>
          <c:y val="2.21929374471525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3455383705208"/>
          <c:y val="0.19998545226738207"/>
          <c:w val="0.82639774474876027"/>
          <c:h val="0.633885120531022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2</c:v>
                </c:pt>
                <c:pt idx="2">
                  <c:v>7345</c:v>
                </c:pt>
                <c:pt idx="3">
                  <c:v>7343</c:v>
                </c:pt>
                <c:pt idx="4">
                  <c:v>7342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</c:v>
                </c:pt>
                <c:pt idx="9">
                  <c:v>7350</c:v>
                </c:pt>
                <c:pt idx="10">
                  <c:v>7352</c:v>
                </c:pt>
                <c:pt idx="11">
                  <c:v>7342</c:v>
                </c:pt>
                <c:pt idx="12">
                  <c:v>7346</c:v>
                </c:pt>
                <c:pt idx="13">
                  <c:v>7348</c:v>
                </c:pt>
                <c:pt idx="14">
                  <c:v>7346</c:v>
                </c:pt>
                <c:pt idx="15">
                  <c:v>7345</c:v>
                </c:pt>
                <c:pt idx="16">
                  <c:v>7346</c:v>
                </c:pt>
                <c:pt idx="17">
                  <c:v>7339</c:v>
                </c:pt>
                <c:pt idx="18">
                  <c:v>7344</c:v>
                </c:pt>
                <c:pt idx="19">
                  <c:v>7341</c:v>
                </c:pt>
                <c:pt idx="20">
                  <c:v>7345</c:v>
                </c:pt>
                <c:pt idx="21">
                  <c:v>7339</c:v>
                </c:pt>
                <c:pt idx="22">
                  <c:v>7344</c:v>
                </c:pt>
                <c:pt idx="23">
                  <c:v>7337</c:v>
                </c:pt>
                <c:pt idx="24">
                  <c:v>7343</c:v>
                </c:pt>
                <c:pt idx="25">
                  <c:v>7337</c:v>
                </c:pt>
                <c:pt idx="26">
                  <c:v>7350</c:v>
                </c:pt>
                <c:pt idx="27">
                  <c:v>7345</c:v>
                </c:pt>
                <c:pt idx="28">
                  <c:v>7345</c:v>
                </c:pt>
                <c:pt idx="29">
                  <c:v>7343</c:v>
                </c:pt>
                <c:pt idx="30">
                  <c:v>7344</c:v>
                </c:pt>
                <c:pt idx="31">
                  <c:v>7348</c:v>
                </c:pt>
                <c:pt idx="32">
                  <c:v>7347</c:v>
                </c:pt>
                <c:pt idx="33">
                  <c:v>7346</c:v>
                </c:pt>
                <c:pt idx="34">
                  <c:v>7350</c:v>
                </c:pt>
                <c:pt idx="35">
                  <c:v>7345</c:v>
                </c:pt>
                <c:pt idx="36">
                  <c:v>7348</c:v>
                </c:pt>
                <c:pt idx="37">
                  <c:v>7347</c:v>
                </c:pt>
                <c:pt idx="38">
                  <c:v>7350</c:v>
                </c:pt>
                <c:pt idx="39">
                  <c:v>7348</c:v>
                </c:pt>
                <c:pt idx="40">
                  <c:v>7349</c:v>
                </c:pt>
                <c:pt idx="41">
                  <c:v>7351</c:v>
                </c:pt>
                <c:pt idx="42">
                  <c:v>7344</c:v>
                </c:pt>
                <c:pt idx="43">
                  <c:v>7352</c:v>
                </c:pt>
                <c:pt idx="44">
                  <c:v>7351</c:v>
                </c:pt>
                <c:pt idx="45">
                  <c:v>7352</c:v>
                </c:pt>
                <c:pt idx="46">
                  <c:v>7352</c:v>
                </c:pt>
                <c:pt idx="47">
                  <c:v>7355</c:v>
                </c:pt>
                <c:pt idx="48">
                  <c:v>7350</c:v>
                </c:pt>
                <c:pt idx="49">
                  <c:v>7354</c:v>
                </c:pt>
                <c:pt idx="50">
                  <c:v>7349</c:v>
                </c:pt>
                <c:pt idx="51">
                  <c:v>7359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6</c:v>
                </c:pt>
                <c:pt idx="57">
                  <c:v>7358</c:v>
                </c:pt>
                <c:pt idx="58">
                  <c:v>7353</c:v>
                </c:pt>
                <c:pt idx="59">
                  <c:v>7360</c:v>
                </c:pt>
                <c:pt idx="60">
                  <c:v>7356</c:v>
                </c:pt>
                <c:pt idx="61">
                  <c:v>7350</c:v>
                </c:pt>
                <c:pt idx="62">
                  <c:v>7350</c:v>
                </c:pt>
                <c:pt idx="63">
                  <c:v>7356</c:v>
                </c:pt>
                <c:pt idx="64">
                  <c:v>7348</c:v>
                </c:pt>
                <c:pt idx="65">
                  <c:v>7353</c:v>
                </c:pt>
                <c:pt idx="66">
                  <c:v>7351</c:v>
                </c:pt>
                <c:pt idx="67">
                  <c:v>7350</c:v>
                </c:pt>
                <c:pt idx="68">
                  <c:v>7354</c:v>
                </c:pt>
                <c:pt idx="69">
                  <c:v>7356</c:v>
                </c:pt>
                <c:pt idx="70">
                  <c:v>7351</c:v>
                </c:pt>
                <c:pt idx="71">
                  <c:v>7356</c:v>
                </c:pt>
                <c:pt idx="72">
                  <c:v>7357</c:v>
                </c:pt>
                <c:pt idx="73">
                  <c:v>7354</c:v>
                </c:pt>
                <c:pt idx="74">
                  <c:v>7352</c:v>
                </c:pt>
                <c:pt idx="75">
                  <c:v>7353</c:v>
                </c:pt>
                <c:pt idx="76">
                  <c:v>7360</c:v>
                </c:pt>
                <c:pt idx="77">
                  <c:v>7354</c:v>
                </c:pt>
                <c:pt idx="78">
                  <c:v>7361</c:v>
                </c:pt>
                <c:pt idx="79">
                  <c:v>7354</c:v>
                </c:pt>
                <c:pt idx="80">
                  <c:v>7357</c:v>
                </c:pt>
                <c:pt idx="81">
                  <c:v>7351</c:v>
                </c:pt>
                <c:pt idx="82">
                  <c:v>7358</c:v>
                </c:pt>
                <c:pt idx="83">
                  <c:v>7350</c:v>
                </c:pt>
                <c:pt idx="84">
                  <c:v>7362</c:v>
                </c:pt>
                <c:pt idx="85">
                  <c:v>7358</c:v>
                </c:pt>
                <c:pt idx="86">
                  <c:v>7353</c:v>
                </c:pt>
                <c:pt idx="87">
                  <c:v>7354</c:v>
                </c:pt>
                <c:pt idx="88">
                  <c:v>7360</c:v>
                </c:pt>
                <c:pt idx="89">
                  <c:v>7360</c:v>
                </c:pt>
                <c:pt idx="90">
                  <c:v>7361</c:v>
                </c:pt>
                <c:pt idx="91">
                  <c:v>7356</c:v>
                </c:pt>
                <c:pt idx="92">
                  <c:v>7358</c:v>
                </c:pt>
                <c:pt idx="93">
                  <c:v>7360</c:v>
                </c:pt>
                <c:pt idx="94">
                  <c:v>7357</c:v>
                </c:pt>
                <c:pt idx="95">
                  <c:v>7357</c:v>
                </c:pt>
                <c:pt idx="96">
                  <c:v>7362</c:v>
                </c:pt>
                <c:pt idx="97">
                  <c:v>7358</c:v>
                </c:pt>
                <c:pt idx="98">
                  <c:v>7358</c:v>
                </c:pt>
                <c:pt idx="99">
                  <c:v>7357</c:v>
                </c:pt>
                <c:pt idx="100">
                  <c:v>7356</c:v>
                </c:pt>
                <c:pt idx="101">
                  <c:v>7359</c:v>
                </c:pt>
                <c:pt idx="102">
                  <c:v>7361</c:v>
                </c:pt>
                <c:pt idx="103">
                  <c:v>7358</c:v>
                </c:pt>
                <c:pt idx="104">
                  <c:v>7356</c:v>
                </c:pt>
                <c:pt idx="105">
                  <c:v>7362</c:v>
                </c:pt>
                <c:pt idx="106">
                  <c:v>7361</c:v>
                </c:pt>
                <c:pt idx="107">
                  <c:v>7356</c:v>
                </c:pt>
                <c:pt idx="108">
                  <c:v>7350</c:v>
                </c:pt>
                <c:pt idx="109">
                  <c:v>7357</c:v>
                </c:pt>
                <c:pt idx="110">
                  <c:v>7355</c:v>
                </c:pt>
                <c:pt idx="111">
                  <c:v>7352</c:v>
                </c:pt>
                <c:pt idx="112">
                  <c:v>7354</c:v>
                </c:pt>
                <c:pt idx="113">
                  <c:v>7352</c:v>
                </c:pt>
                <c:pt idx="114">
                  <c:v>7356</c:v>
                </c:pt>
                <c:pt idx="115">
                  <c:v>7356</c:v>
                </c:pt>
                <c:pt idx="116">
                  <c:v>7348</c:v>
                </c:pt>
                <c:pt idx="117">
                  <c:v>7356</c:v>
                </c:pt>
                <c:pt idx="118">
                  <c:v>7344</c:v>
                </c:pt>
                <c:pt idx="119">
                  <c:v>7355</c:v>
                </c:pt>
                <c:pt idx="120">
                  <c:v>7352</c:v>
                </c:pt>
                <c:pt idx="121">
                  <c:v>7353</c:v>
                </c:pt>
                <c:pt idx="122">
                  <c:v>7351</c:v>
                </c:pt>
                <c:pt idx="123">
                  <c:v>7353</c:v>
                </c:pt>
                <c:pt idx="124">
                  <c:v>7352</c:v>
                </c:pt>
                <c:pt idx="125">
                  <c:v>7354</c:v>
                </c:pt>
                <c:pt idx="126">
                  <c:v>7350</c:v>
                </c:pt>
                <c:pt idx="127">
                  <c:v>7352</c:v>
                </c:pt>
                <c:pt idx="128">
                  <c:v>7346</c:v>
                </c:pt>
                <c:pt idx="129">
                  <c:v>7347</c:v>
                </c:pt>
                <c:pt idx="130">
                  <c:v>7344</c:v>
                </c:pt>
                <c:pt idx="131">
                  <c:v>7343</c:v>
                </c:pt>
                <c:pt idx="132">
                  <c:v>7339</c:v>
                </c:pt>
                <c:pt idx="133">
                  <c:v>7339</c:v>
                </c:pt>
                <c:pt idx="134">
                  <c:v>7339</c:v>
                </c:pt>
                <c:pt idx="135">
                  <c:v>7337</c:v>
                </c:pt>
                <c:pt idx="136">
                  <c:v>7332</c:v>
                </c:pt>
                <c:pt idx="137">
                  <c:v>7334</c:v>
                </c:pt>
                <c:pt idx="138">
                  <c:v>7337</c:v>
                </c:pt>
                <c:pt idx="139">
                  <c:v>7339</c:v>
                </c:pt>
                <c:pt idx="140">
                  <c:v>7343</c:v>
                </c:pt>
                <c:pt idx="141">
                  <c:v>7340</c:v>
                </c:pt>
                <c:pt idx="142">
                  <c:v>7340</c:v>
                </c:pt>
                <c:pt idx="143">
                  <c:v>7344</c:v>
                </c:pt>
                <c:pt idx="144">
                  <c:v>7348</c:v>
                </c:pt>
                <c:pt idx="145">
                  <c:v>7349</c:v>
                </c:pt>
                <c:pt idx="146">
                  <c:v>7341</c:v>
                </c:pt>
                <c:pt idx="147">
                  <c:v>7341</c:v>
                </c:pt>
                <c:pt idx="148">
                  <c:v>7345</c:v>
                </c:pt>
                <c:pt idx="149">
                  <c:v>7344</c:v>
                </c:pt>
                <c:pt idx="150">
                  <c:v>7340</c:v>
                </c:pt>
                <c:pt idx="151">
                  <c:v>7338</c:v>
                </c:pt>
                <c:pt idx="152">
                  <c:v>7340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</c:v>
                </c:pt>
                <c:pt idx="157">
                  <c:v>7327</c:v>
                </c:pt>
                <c:pt idx="158">
                  <c:v>7326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</c:v>
                </c:pt>
                <c:pt idx="164">
                  <c:v>7320</c:v>
                </c:pt>
                <c:pt idx="165">
                  <c:v>7316</c:v>
                </c:pt>
                <c:pt idx="166">
                  <c:v>7321</c:v>
                </c:pt>
                <c:pt idx="167">
                  <c:v>7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15-4A4A-B116-48867BB5BB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1-8615-4A4A-B116-48867BB5BB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8615-4A4A-B116-48867BB5BB2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8615-4A4A-B116-48867BB5BB2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4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9858456"/>
        <c:axId val="509858064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615-4A4A-B116-48867BB5BB2F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H$2:$H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9858456"/>
        <c:axId val="509858064"/>
      </c:lineChart>
      <c:catAx>
        <c:axId val="509858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9858064"/>
        <c:crosses val="autoZero"/>
        <c:auto val="1"/>
        <c:lblAlgn val="ctr"/>
        <c:lblOffset val="100"/>
        <c:noMultiLvlLbl val="0"/>
      </c:catAx>
      <c:valAx>
        <c:axId val="509858064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9858456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6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Path To 100 Targets Hourly MW For April Week</a:t>
            </a:r>
          </a:p>
        </c:rich>
      </c:tx>
      <c:layout>
        <c:manualLayout>
          <c:xMode val="edge"/>
          <c:yMode val="edge"/>
          <c:x val="0.10026688140852671"/>
          <c:y val="2.49670600817119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19770304910955"/>
          <c:y val="0.19695187801221134"/>
          <c:w val="0.81509376686454393"/>
          <c:h val="0.642776634151967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1.5</c:v>
                </c:pt>
                <c:pt idx="2">
                  <c:v>7345</c:v>
                </c:pt>
                <c:pt idx="3">
                  <c:v>7343.25</c:v>
                </c:pt>
                <c:pt idx="4">
                  <c:v>7342.25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.25</c:v>
                </c:pt>
                <c:pt idx="9">
                  <c:v>7350</c:v>
                </c:pt>
                <c:pt idx="10">
                  <c:v>7351.75</c:v>
                </c:pt>
                <c:pt idx="11">
                  <c:v>7342</c:v>
                </c:pt>
                <c:pt idx="12">
                  <c:v>7345.75</c:v>
                </c:pt>
                <c:pt idx="13">
                  <c:v>7348</c:v>
                </c:pt>
                <c:pt idx="14">
                  <c:v>7346.25</c:v>
                </c:pt>
                <c:pt idx="15">
                  <c:v>7345.25</c:v>
                </c:pt>
                <c:pt idx="16">
                  <c:v>7346</c:v>
                </c:pt>
                <c:pt idx="17">
                  <c:v>7339</c:v>
                </c:pt>
                <c:pt idx="18">
                  <c:v>7343.75</c:v>
                </c:pt>
                <c:pt idx="19">
                  <c:v>7341</c:v>
                </c:pt>
                <c:pt idx="20">
                  <c:v>7344.5</c:v>
                </c:pt>
                <c:pt idx="21">
                  <c:v>7339</c:v>
                </c:pt>
                <c:pt idx="22">
                  <c:v>7343.5</c:v>
                </c:pt>
                <c:pt idx="23">
                  <c:v>7337.25</c:v>
                </c:pt>
                <c:pt idx="24">
                  <c:v>7342.5</c:v>
                </c:pt>
                <c:pt idx="25">
                  <c:v>7337.25</c:v>
                </c:pt>
                <c:pt idx="26">
                  <c:v>7349.75</c:v>
                </c:pt>
                <c:pt idx="27">
                  <c:v>7345.25</c:v>
                </c:pt>
                <c:pt idx="28">
                  <c:v>7344.75</c:v>
                </c:pt>
                <c:pt idx="29">
                  <c:v>7343.25</c:v>
                </c:pt>
                <c:pt idx="30">
                  <c:v>7344.25</c:v>
                </c:pt>
                <c:pt idx="31">
                  <c:v>7348.25</c:v>
                </c:pt>
                <c:pt idx="32">
                  <c:v>7346.5</c:v>
                </c:pt>
                <c:pt idx="33">
                  <c:v>7345.75</c:v>
                </c:pt>
                <c:pt idx="34">
                  <c:v>7349.75</c:v>
                </c:pt>
                <c:pt idx="35">
                  <c:v>7345.25</c:v>
                </c:pt>
                <c:pt idx="36">
                  <c:v>7348</c:v>
                </c:pt>
                <c:pt idx="37">
                  <c:v>7346.5</c:v>
                </c:pt>
                <c:pt idx="38">
                  <c:v>7349.5</c:v>
                </c:pt>
                <c:pt idx="39">
                  <c:v>7348</c:v>
                </c:pt>
                <c:pt idx="40">
                  <c:v>7348.5</c:v>
                </c:pt>
                <c:pt idx="41">
                  <c:v>7351.25</c:v>
                </c:pt>
                <c:pt idx="42">
                  <c:v>7343.5</c:v>
                </c:pt>
                <c:pt idx="43">
                  <c:v>7351.75</c:v>
                </c:pt>
                <c:pt idx="44">
                  <c:v>7351</c:v>
                </c:pt>
                <c:pt idx="45">
                  <c:v>7351.5</c:v>
                </c:pt>
                <c:pt idx="46">
                  <c:v>7351.5</c:v>
                </c:pt>
                <c:pt idx="47">
                  <c:v>7355</c:v>
                </c:pt>
                <c:pt idx="48">
                  <c:v>7350</c:v>
                </c:pt>
                <c:pt idx="49">
                  <c:v>7353.5</c:v>
                </c:pt>
                <c:pt idx="50">
                  <c:v>7348.75</c:v>
                </c:pt>
                <c:pt idx="51">
                  <c:v>7358.5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5.5</c:v>
                </c:pt>
                <c:pt idx="57">
                  <c:v>7358</c:v>
                </c:pt>
                <c:pt idx="58">
                  <c:v>7353.25</c:v>
                </c:pt>
                <c:pt idx="59">
                  <c:v>7360.25</c:v>
                </c:pt>
                <c:pt idx="60">
                  <c:v>7356</c:v>
                </c:pt>
                <c:pt idx="61">
                  <c:v>7350.25</c:v>
                </c:pt>
                <c:pt idx="62">
                  <c:v>7350</c:v>
                </c:pt>
                <c:pt idx="63">
                  <c:v>7355.5</c:v>
                </c:pt>
                <c:pt idx="64">
                  <c:v>7348.25</c:v>
                </c:pt>
                <c:pt idx="65">
                  <c:v>7353.25</c:v>
                </c:pt>
                <c:pt idx="66">
                  <c:v>7350.75</c:v>
                </c:pt>
                <c:pt idx="67">
                  <c:v>7350.25</c:v>
                </c:pt>
                <c:pt idx="68">
                  <c:v>7353.75</c:v>
                </c:pt>
                <c:pt idx="69">
                  <c:v>7355.5</c:v>
                </c:pt>
                <c:pt idx="70">
                  <c:v>7350.5</c:v>
                </c:pt>
                <c:pt idx="71">
                  <c:v>7355.5</c:v>
                </c:pt>
                <c:pt idx="72">
                  <c:v>7357</c:v>
                </c:pt>
                <c:pt idx="73">
                  <c:v>7354.25</c:v>
                </c:pt>
                <c:pt idx="74">
                  <c:v>7352</c:v>
                </c:pt>
                <c:pt idx="75">
                  <c:v>7352.5</c:v>
                </c:pt>
                <c:pt idx="76">
                  <c:v>7359.75</c:v>
                </c:pt>
                <c:pt idx="77">
                  <c:v>7353.75</c:v>
                </c:pt>
                <c:pt idx="78">
                  <c:v>7361</c:v>
                </c:pt>
                <c:pt idx="79">
                  <c:v>7354</c:v>
                </c:pt>
                <c:pt idx="80">
                  <c:v>7356.5</c:v>
                </c:pt>
                <c:pt idx="81">
                  <c:v>7350.5</c:v>
                </c:pt>
                <c:pt idx="82">
                  <c:v>7357.75</c:v>
                </c:pt>
                <c:pt idx="83">
                  <c:v>7350.25</c:v>
                </c:pt>
                <c:pt idx="84">
                  <c:v>7361.75</c:v>
                </c:pt>
                <c:pt idx="85">
                  <c:v>7357.5</c:v>
                </c:pt>
                <c:pt idx="86">
                  <c:v>7353.25</c:v>
                </c:pt>
                <c:pt idx="87">
                  <c:v>7354</c:v>
                </c:pt>
                <c:pt idx="88">
                  <c:v>7360</c:v>
                </c:pt>
                <c:pt idx="89">
                  <c:v>7359.5</c:v>
                </c:pt>
                <c:pt idx="90">
                  <c:v>7360.5</c:v>
                </c:pt>
                <c:pt idx="91">
                  <c:v>7356</c:v>
                </c:pt>
                <c:pt idx="92">
                  <c:v>7357.5</c:v>
                </c:pt>
                <c:pt idx="93">
                  <c:v>7359.5</c:v>
                </c:pt>
                <c:pt idx="94">
                  <c:v>7357</c:v>
                </c:pt>
                <c:pt idx="95">
                  <c:v>7357</c:v>
                </c:pt>
                <c:pt idx="96">
                  <c:v>7361.5</c:v>
                </c:pt>
                <c:pt idx="97">
                  <c:v>7358</c:v>
                </c:pt>
                <c:pt idx="98">
                  <c:v>7358</c:v>
                </c:pt>
                <c:pt idx="99">
                  <c:v>7356.75</c:v>
                </c:pt>
                <c:pt idx="100">
                  <c:v>7356</c:v>
                </c:pt>
                <c:pt idx="101">
                  <c:v>7359</c:v>
                </c:pt>
                <c:pt idx="102">
                  <c:v>7361.25</c:v>
                </c:pt>
                <c:pt idx="103">
                  <c:v>7357.5</c:v>
                </c:pt>
                <c:pt idx="104">
                  <c:v>7355.5</c:v>
                </c:pt>
                <c:pt idx="105">
                  <c:v>7361.5</c:v>
                </c:pt>
                <c:pt idx="106">
                  <c:v>7360.75</c:v>
                </c:pt>
                <c:pt idx="107">
                  <c:v>7355.5</c:v>
                </c:pt>
                <c:pt idx="108">
                  <c:v>7350.25</c:v>
                </c:pt>
                <c:pt idx="109">
                  <c:v>7356.75</c:v>
                </c:pt>
                <c:pt idx="110">
                  <c:v>7355.25</c:v>
                </c:pt>
                <c:pt idx="111">
                  <c:v>7352</c:v>
                </c:pt>
                <c:pt idx="112">
                  <c:v>7353.75</c:v>
                </c:pt>
                <c:pt idx="113">
                  <c:v>7352.25</c:v>
                </c:pt>
                <c:pt idx="114">
                  <c:v>7355.5</c:v>
                </c:pt>
                <c:pt idx="115">
                  <c:v>7355.75</c:v>
                </c:pt>
                <c:pt idx="116">
                  <c:v>7347.75</c:v>
                </c:pt>
                <c:pt idx="117">
                  <c:v>7356</c:v>
                </c:pt>
                <c:pt idx="118">
                  <c:v>7344.25</c:v>
                </c:pt>
                <c:pt idx="119">
                  <c:v>7354.75</c:v>
                </c:pt>
                <c:pt idx="120">
                  <c:v>7352</c:v>
                </c:pt>
                <c:pt idx="121">
                  <c:v>7353</c:v>
                </c:pt>
                <c:pt idx="122">
                  <c:v>7350.75</c:v>
                </c:pt>
                <c:pt idx="123">
                  <c:v>7352.5</c:v>
                </c:pt>
                <c:pt idx="124">
                  <c:v>7352</c:v>
                </c:pt>
                <c:pt idx="125">
                  <c:v>7353.5</c:v>
                </c:pt>
                <c:pt idx="126">
                  <c:v>7349.75</c:v>
                </c:pt>
                <c:pt idx="127">
                  <c:v>7351.75</c:v>
                </c:pt>
                <c:pt idx="128">
                  <c:v>7346.25</c:v>
                </c:pt>
                <c:pt idx="129">
                  <c:v>7346.5</c:v>
                </c:pt>
                <c:pt idx="130">
                  <c:v>7344</c:v>
                </c:pt>
                <c:pt idx="131">
                  <c:v>7342.5</c:v>
                </c:pt>
                <c:pt idx="132">
                  <c:v>7339.25</c:v>
                </c:pt>
                <c:pt idx="133">
                  <c:v>7338.5</c:v>
                </c:pt>
                <c:pt idx="134">
                  <c:v>7339.25</c:v>
                </c:pt>
                <c:pt idx="135">
                  <c:v>7336.5</c:v>
                </c:pt>
                <c:pt idx="136">
                  <c:v>7331.5</c:v>
                </c:pt>
                <c:pt idx="137">
                  <c:v>7334.25</c:v>
                </c:pt>
                <c:pt idx="138">
                  <c:v>7336.5</c:v>
                </c:pt>
                <c:pt idx="139">
                  <c:v>7338.75</c:v>
                </c:pt>
                <c:pt idx="140">
                  <c:v>7342.5</c:v>
                </c:pt>
                <c:pt idx="141">
                  <c:v>7339.75</c:v>
                </c:pt>
                <c:pt idx="142">
                  <c:v>7339.5</c:v>
                </c:pt>
                <c:pt idx="143">
                  <c:v>7343.5</c:v>
                </c:pt>
                <c:pt idx="144">
                  <c:v>7347.5</c:v>
                </c:pt>
                <c:pt idx="145">
                  <c:v>7348.75</c:v>
                </c:pt>
                <c:pt idx="146">
                  <c:v>7341.25</c:v>
                </c:pt>
                <c:pt idx="147">
                  <c:v>7340.75</c:v>
                </c:pt>
                <c:pt idx="148">
                  <c:v>7344.75</c:v>
                </c:pt>
                <c:pt idx="149">
                  <c:v>7343.75</c:v>
                </c:pt>
                <c:pt idx="150">
                  <c:v>7339.75</c:v>
                </c:pt>
                <c:pt idx="151">
                  <c:v>7337.5</c:v>
                </c:pt>
                <c:pt idx="152">
                  <c:v>7339.5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.25</c:v>
                </c:pt>
                <c:pt idx="157">
                  <c:v>7326.5</c:v>
                </c:pt>
                <c:pt idx="158">
                  <c:v>7325.5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.25</c:v>
                </c:pt>
                <c:pt idx="164">
                  <c:v>7319.5</c:v>
                </c:pt>
                <c:pt idx="165">
                  <c:v>7315.75</c:v>
                </c:pt>
                <c:pt idx="166">
                  <c:v>7321</c:v>
                </c:pt>
                <c:pt idx="167">
                  <c:v>787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41-4602-9258-A76CF9AB45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 formatCode="_(* #,##0_);_(* \(#,##0\);_(* &quot;-&quot;??_);_(@_)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41-4602-9258-A76CF9AB45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1241-4602-9258-A76CF9AB45C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1241-4602-9258-A76CF9AB45C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4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50207560"/>
        <c:axId val="8502110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241-4602-9258-A76CF9AB45C7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H$2:$H$169</c:f>
              <c:numCache>
                <c:formatCode>_(* #,##0_);_(* \(#,##0\);_(* "-"??_);_(@_)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50207560"/>
        <c:axId val="850211088"/>
      </c:lineChart>
      <c:catAx>
        <c:axId val="850207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0211088"/>
        <c:crosses val="autoZero"/>
        <c:auto val="1"/>
        <c:lblAlgn val="ctr"/>
        <c:lblOffset val="100"/>
        <c:noMultiLvlLbl val="0"/>
      </c:catAx>
      <c:valAx>
        <c:axId val="850211088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0207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6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CJC Targets Hourly MW for April Week</a:t>
            </a:r>
          </a:p>
        </c:rich>
      </c:tx>
      <c:layout>
        <c:manualLayout>
          <c:xMode val="edge"/>
          <c:yMode val="edge"/>
          <c:x val="0.1594028424299774"/>
          <c:y val="2.21929374471525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3455383705208"/>
          <c:y val="0.19998545226738207"/>
          <c:w val="0.82639774474876027"/>
          <c:h val="0.633885120531022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2</c:v>
                </c:pt>
                <c:pt idx="2">
                  <c:v>7345</c:v>
                </c:pt>
                <c:pt idx="3">
                  <c:v>7343</c:v>
                </c:pt>
                <c:pt idx="4">
                  <c:v>7342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</c:v>
                </c:pt>
                <c:pt idx="9">
                  <c:v>7350</c:v>
                </c:pt>
                <c:pt idx="10">
                  <c:v>7352</c:v>
                </c:pt>
                <c:pt idx="11">
                  <c:v>7342</c:v>
                </c:pt>
                <c:pt idx="12">
                  <c:v>7346</c:v>
                </c:pt>
                <c:pt idx="13">
                  <c:v>7348</c:v>
                </c:pt>
                <c:pt idx="14">
                  <c:v>7346</c:v>
                </c:pt>
                <c:pt idx="15">
                  <c:v>7345</c:v>
                </c:pt>
                <c:pt idx="16">
                  <c:v>7346</c:v>
                </c:pt>
                <c:pt idx="17">
                  <c:v>7339</c:v>
                </c:pt>
                <c:pt idx="18">
                  <c:v>7344</c:v>
                </c:pt>
                <c:pt idx="19">
                  <c:v>7341</c:v>
                </c:pt>
                <c:pt idx="20">
                  <c:v>7345</c:v>
                </c:pt>
                <c:pt idx="21">
                  <c:v>7339</c:v>
                </c:pt>
                <c:pt idx="22">
                  <c:v>7344</c:v>
                </c:pt>
                <c:pt idx="23">
                  <c:v>7337</c:v>
                </c:pt>
                <c:pt idx="24">
                  <c:v>7343</c:v>
                </c:pt>
                <c:pt idx="25">
                  <c:v>7337</c:v>
                </c:pt>
                <c:pt idx="26">
                  <c:v>7350</c:v>
                </c:pt>
                <c:pt idx="27">
                  <c:v>7345</c:v>
                </c:pt>
                <c:pt idx="28">
                  <c:v>7345</c:v>
                </c:pt>
                <c:pt idx="29">
                  <c:v>7343</c:v>
                </c:pt>
                <c:pt idx="30">
                  <c:v>7344</c:v>
                </c:pt>
                <c:pt idx="31">
                  <c:v>7348</c:v>
                </c:pt>
                <c:pt idx="32">
                  <c:v>7347</c:v>
                </c:pt>
                <c:pt idx="33">
                  <c:v>7346</c:v>
                </c:pt>
                <c:pt idx="34">
                  <c:v>7350</c:v>
                </c:pt>
                <c:pt idx="35">
                  <c:v>7345</c:v>
                </c:pt>
                <c:pt idx="36">
                  <c:v>7348</c:v>
                </c:pt>
                <c:pt idx="37">
                  <c:v>7347</c:v>
                </c:pt>
                <c:pt idx="38">
                  <c:v>7350</c:v>
                </c:pt>
                <c:pt idx="39">
                  <c:v>7348</c:v>
                </c:pt>
                <c:pt idx="40">
                  <c:v>7349</c:v>
                </c:pt>
                <c:pt idx="41">
                  <c:v>7351</c:v>
                </c:pt>
                <c:pt idx="42">
                  <c:v>7344</c:v>
                </c:pt>
                <c:pt idx="43">
                  <c:v>7352</c:v>
                </c:pt>
                <c:pt idx="44">
                  <c:v>7351</c:v>
                </c:pt>
                <c:pt idx="45">
                  <c:v>7352</c:v>
                </c:pt>
                <c:pt idx="46">
                  <c:v>7352</c:v>
                </c:pt>
                <c:pt idx="47">
                  <c:v>7355</c:v>
                </c:pt>
                <c:pt idx="48">
                  <c:v>7350</c:v>
                </c:pt>
                <c:pt idx="49">
                  <c:v>7354</c:v>
                </c:pt>
                <c:pt idx="50">
                  <c:v>7349</c:v>
                </c:pt>
                <c:pt idx="51">
                  <c:v>7359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6</c:v>
                </c:pt>
                <c:pt idx="57">
                  <c:v>7358</c:v>
                </c:pt>
                <c:pt idx="58">
                  <c:v>7353</c:v>
                </c:pt>
                <c:pt idx="59">
                  <c:v>7360</c:v>
                </c:pt>
                <c:pt idx="60">
                  <c:v>7356</c:v>
                </c:pt>
                <c:pt idx="61">
                  <c:v>7350</c:v>
                </c:pt>
                <c:pt idx="62">
                  <c:v>7350</c:v>
                </c:pt>
                <c:pt idx="63">
                  <c:v>7356</c:v>
                </c:pt>
                <c:pt idx="64">
                  <c:v>7348</c:v>
                </c:pt>
                <c:pt idx="65">
                  <c:v>7353</c:v>
                </c:pt>
                <c:pt idx="66">
                  <c:v>7351</c:v>
                </c:pt>
                <c:pt idx="67">
                  <c:v>7350</c:v>
                </c:pt>
                <c:pt idx="68">
                  <c:v>7354</c:v>
                </c:pt>
                <c:pt idx="69">
                  <c:v>7356</c:v>
                </c:pt>
                <c:pt idx="70">
                  <c:v>7351</c:v>
                </c:pt>
                <c:pt idx="71">
                  <c:v>7356</c:v>
                </c:pt>
                <c:pt idx="72">
                  <c:v>7357</c:v>
                </c:pt>
                <c:pt idx="73">
                  <c:v>7354</c:v>
                </c:pt>
                <c:pt idx="74">
                  <c:v>7352</c:v>
                </c:pt>
                <c:pt idx="75">
                  <c:v>7353</c:v>
                </c:pt>
                <c:pt idx="76">
                  <c:v>7360</c:v>
                </c:pt>
                <c:pt idx="77">
                  <c:v>7354</c:v>
                </c:pt>
                <c:pt idx="78">
                  <c:v>7361</c:v>
                </c:pt>
                <c:pt idx="79">
                  <c:v>7354</c:v>
                </c:pt>
                <c:pt idx="80">
                  <c:v>7357</c:v>
                </c:pt>
                <c:pt idx="81">
                  <c:v>7351</c:v>
                </c:pt>
                <c:pt idx="82">
                  <c:v>7358</c:v>
                </c:pt>
                <c:pt idx="83">
                  <c:v>7350</c:v>
                </c:pt>
                <c:pt idx="84">
                  <c:v>7362</c:v>
                </c:pt>
                <c:pt idx="85">
                  <c:v>7358</c:v>
                </c:pt>
                <c:pt idx="86">
                  <c:v>7353</c:v>
                </c:pt>
                <c:pt idx="87">
                  <c:v>7354</c:v>
                </c:pt>
                <c:pt idx="88">
                  <c:v>7360</c:v>
                </c:pt>
                <c:pt idx="89">
                  <c:v>7360</c:v>
                </c:pt>
                <c:pt idx="90">
                  <c:v>7361</c:v>
                </c:pt>
                <c:pt idx="91">
                  <c:v>7356</c:v>
                </c:pt>
                <c:pt idx="92">
                  <c:v>7358</c:v>
                </c:pt>
                <c:pt idx="93">
                  <c:v>7360</c:v>
                </c:pt>
                <c:pt idx="94">
                  <c:v>7357</c:v>
                </c:pt>
                <c:pt idx="95">
                  <c:v>7357</c:v>
                </c:pt>
                <c:pt idx="96">
                  <c:v>7362</c:v>
                </c:pt>
                <c:pt idx="97">
                  <c:v>7358</c:v>
                </c:pt>
                <c:pt idx="98">
                  <c:v>7358</c:v>
                </c:pt>
                <c:pt idx="99">
                  <c:v>7357</c:v>
                </c:pt>
                <c:pt idx="100">
                  <c:v>7356</c:v>
                </c:pt>
                <c:pt idx="101">
                  <c:v>7359</c:v>
                </c:pt>
                <c:pt idx="102">
                  <c:v>7361</c:v>
                </c:pt>
                <c:pt idx="103">
                  <c:v>7358</c:v>
                </c:pt>
                <c:pt idx="104">
                  <c:v>7356</c:v>
                </c:pt>
                <c:pt idx="105">
                  <c:v>7362</c:v>
                </c:pt>
                <c:pt idx="106">
                  <c:v>7361</c:v>
                </c:pt>
                <c:pt idx="107">
                  <c:v>7356</c:v>
                </c:pt>
                <c:pt idx="108">
                  <c:v>7350</c:v>
                </c:pt>
                <c:pt idx="109">
                  <c:v>7357</c:v>
                </c:pt>
                <c:pt idx="110">
                  <c:v>7355</c:v>
                </c:pt>
                <c:pt idx="111">
                  <c:v>7352</c:v>
                </c:pt>
                <c:pt idx="112">
                  <c:v>7354</c:v>
                </c:pt>
                <c:pt idx="113">
                  <c:v>7352</c:v>
                </c:pt>
                <c:pt idx="114">
                  <c:v>7356</c:v>
                </c:pt>
                <c:pt idx="115">
                  <c:v>7356</c:v>
                </c:pt>
                <c:pt idx="116">
                  <c:v>7348</c:v>
                </c:pt>
                <c:pt idx="117">
                  <c:v>7356</c:v>
                </c:pt>
                <c:pt idx="118">
                  <c:v>7344</c:v>
                </c:pt>
                <c:pt idx="119">
                  <c:v>7355</c:v>
                </c:pt>
                <c:pt idx="120">
                  <c:v>7352</c:v>
                </c:pt>
                <c:pt idx="121">
                  <c:v>7353</c:v>
                </c:pt>
                <c:pt idx="122">
                  <c:v>7351</c:v>
                </c:pt>
                <c:pt idx="123">
                  <c:v>7353</c:v>
                </c:pt>
                <c:pt idx="124">
                  <c:v>7352</c:v>
                </c:pt>
                <c:pt idx="125">
                  <c:v>7354</c:v>
                </c:pt>
                <c:pt idx="126">
                  <c:v>7350</c:v>
                </c:pt>
                <c:pt idx="127">
                  <c:v>7352</c:v>
                </c:pt>
                <c:pt idx="128">
                  <c:v>7346</c:v>
                </c:pt>
                <c:pt idx="129">
                  <c:v>7347</c:v>
                </c:pt>
                <c:pt idx="130">
                  <c:v>7344</c:v>
                </c:pt>
                <c:pt idx="131">
                  <c:v>7343</c:v>
                </c:pt>
                <c:pt idx="132">
                  <c:v>7339</c:v>
                </c:pt>
                <c:pt idx="133">
                  <c:v>7339</c:v>
                </c:pt>
                <c:pt idx="134">
                  <c:v>7339</c:v>
                </c:pt>
                <c:pt idx="135">
                  <c:v>7337</c:v>
                </c:pt>
                <c:pt idx="136">
                  <c:v>7332</c:v>
                </c:pt>
                <c:pt idx="137">
                  <c:v>7334</c:v>
                </c:pt>
                <c:pt idx="138">
                  <c:v>7337</c:v>
                </c:pt>
                <c:pt idx="139">
                  <c:v>7339</c:v>
                </c:pt>
                <c:pt idx="140">
                  <c:v>7343</c:v>
                </c:pt>
                <c:pt idx="141">
                  <c:v>7340</c:v>
                </c:pt>
                <c:pt idx="142">
                  <c:v>7340</c:v>
                </c:pt>
                <c:pt idx="143">
                  <c:v>7344</c:v>
                </c:pt>
                <c:pt idx="144">
                  <c:v>7348</c:v>
                </c:pt>
                <c:pt idx="145">
                  <c:v>7349</c:v>
                </c:pt>
                <c:pt idx="146">
                  <c:v>7341</c:v>
                </c:pt>
                <c:pt idx="147">
                  <c:v>7341</c:v>
                </c:pt>
                <c:pt idx="148">
                  <c:v>7345</c:v>
                </c:pt>
                <c:pt idx="149">
                  <c:v>7344</c:v>
                </c:pt>
                <c:pt idx="150">
                  <c:v>7340</c:v>
                </c:pt>
                <c:pt idx="151">
                  <c:v>7338</c:v>
                </c:pt>
                <c:pt idx="152">
                  <c:v>7340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</c:v>
                </c:pt>
                <c:pt idx="157">
                  <c:v>7327</c:v>
                </c:pt>
                <c:pt idx="158">
                  <c:v>7326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</c:v>
                </c:pt>
                <c:pt idx="164">
                  <c:v>7320</c:v>
                </c:pt>
                <c:pt idx="165">
                  <c:v>7316</c:v>
                </c:pt>
                <c:pt idx="166">
                  <c:v>7321</c:v>
                </c:pt>
                <c:pt idx="167">
                  <c:v>7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15-4A4A-B116-48867BB5BB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 formatCode="_(* #,##0_);_(* \(#,##0\);_(* &quot;-&quot;??_);_(@_)">
                  <c:v>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15-4A4A-B116-48867BB5BB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8615-4A4A-B116-48867BB5BB2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8615-4A4A-B116-48867BB5BB2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4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30120736"/>
        <c:axId val="930122304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615-4A4A-B116-48867BB5BB2F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H$2:$H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30120736"/>
        <c:axId val="930122304"/>
      </c:lineChart>
      <c:catAx>
        <c:axId val="930120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0122304"/>
        <c:crosses val="autoZero"/>
        <c:auto val="1"/>
        <c:lblAlgn val="ctr"/>
        <c:lblOffset val="100"/>
        <c:noMultiLvlLbl val="0"/>
      </c:catAx>
      <c:valAx>
        <c:axId val="930122304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0120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legendEntry>
        <c:idx val="4"/>
        <c:delete val="1"/>
      </c:legendEntry>
      <c:legendEntry>
        <c:idx val="6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Ed</a:t>
            </a:r>
            <a:r>
              <a:rPr lang="en-US" baseline="0" dirty="0"/>
              <a:t> Hourly Load Match (MWh)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e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2018 Actual</c:v>
                </c:pt>
              </c:strCache>
            </c:strRef>
          </c:cat>
          <c:val>
            <c:numRef>
              <c:f>Sheet1!$B$2</c:f>
              <c:numCache>
                <c:formatCode>_(* #,##0_);_(* \(#,##0\);_(* "-"??_);_(@_)</c:formatCode>
                <c:ptCount val="1"/>
                <c:pt idx="0">
                  <c:v>917453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7A-4009-B447-7C21E1647B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mports</c:v>
                </c:pt>
              </c:strCache>
            </c:strRef>
          </c:tx>
          <c:spPr>
            <a:noFill/>
            <a:ln>
              <a:solidFill>
                <a:schemeClr val="accent1"/>
              </a:solidFill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2018 Actual</c:v>
                </c:pt>
              </c:strCache>
            </c:strRef>
          </c:cat>
          <c:val>
            <c:numRef>
              <c:f>Sheet1!$C$2</c:f>
              <c:numCache>
                <c:formatCode>_(* #,##0_);_(* \(#,##0\);_(* "-"??_);_(@_)</c:formatCode>
                <c:ptCount val="1"/>
                <c:pt idx="0">
                  <c:v>8075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7A-4009-B447-7C21E1647B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2567944"/>
        <c:axId val="162567160"/>
      </c:barChart>
      <c:catAx>
        <c:axId val="162567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567160"/>
        <c:crosses val="autoZero"/>
        <c:auto val="1"/>
        <c:lblAlgn val="ctr"/>
        <c:lblOffset val="100"/>
        <c:noMultiLvlLbl val="0"/>
      </c:catAx>
      <c:valAx>
        <c:axId val="16256716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567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Path To 100 Targets Hourly MW For April Week</a:t>
            </a:r>
          </a:p>
        </c:rich>
      </c:tx>
      <c:layout>
        <c:manualLayout>
          <c:xMode val="edge"/>
          <c:yMode val="edge"/>
          <c:x val="0.10026688140852671"/>
          <c:y val="2.49670600817119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19770304910955"/>
          <c:y val="0.19695187801221134"/>
          <c:w val="0.81509376686454393"/>
          <c:h val="0.642776634151967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1.5</c:v>
                </c:pt>
                <c:pt idx="2">
                  <c:v>7345</c:v>
                </c:pt>
                <c:pt idx="3">
                  <c:v>7343.25</c:v>
                </c:pt>
                <c:pt idx="4">
                  <c:v>7342.25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.25</c:v>
                </c:pt>
                <c:pt idx="9">
                  <c:v>7350</c:v>
                </c:pt>
                <c:pt idx="10">
                  <c:v>7351.75</c:v>
                </c:pt>
                <c:pt idx="11">
                  <c:v>7342</c:v>
                </c:pt>
                <c:pt idx="12">
                  <c:v>7345.75</c:v>
                </c:pt>
                <c:pt idx="13">
                  <c:v>7348</c:v>
                </c:pt>
                <c:pt idx="14">
                  <c:v>7346.25</c:v>
                </c:pt>
                <c:pt idx="15">
                  <c:v>7345.25</c:v>
                </c:pt>
                <c:pt idx="16">
                  <c:v>7346</c:v>
                </c:pt>
                <c:pt idx="17">
                  <c:v>7339</c:v>
                </c:pt>
                <c:pt idx="18">
                  <c:v>7343.75</c:v>
                </c:pt>
                <c:pt idx="19">
                  <c:v>7341</c:v>
                </c:pt>
                <c:pt idx="20">
                  <c:v>7344.5</c:v>
                </c:pt>
                <c:pt idx="21">
                  <c:v>7339</c:v>
                </c:pt>
                <c:pt idx="22">
                  <c:v>7343.5</c:v>
                </c:pt>
                <c:pt idx="23">
                  <c:v>7337.25</c:v>
                </c:pt>
                <c:pt idx="24">
                  <c:v>7342.5</c:v>
                </c:pt>
                <c:pt idx="25">
                  <c:v>7337.25</c:v>
                </c:pt>
                <c:pt idx="26">
                  <c:v>7349.75</c:v>
                </c:pt>
                <c:pt idx="27">
                  <c:v>7345.25</c:v>
                </c:pt>
                <c:pt idx="28">
                  <c:v>7344.75</c:v>
                </c:pt>
                <c:pt idx="29">
                  <c:v>7343.25</c:v>
                </c:pt>
                <c:pt idx="30">
                  <c:v>7344.25</c:v>
                </c:pt>
                <c:pt idx="31">
                  <c:v>7348.25</c:v>
                </c:pt>
                <c:pt idx="32">
                  <c:v>7346.5</c:v>
                </c:pt>
                <c:pt idx="33">
                  <c:v>7345.75</c:v>
                </c:pt>
                <c:pt idx="34">
                  <c:v>7349.75</c:v>
                </c:pt>
                <c:pt idx="35">
                  <c:v>7345.25</c:v>
                </c:pt>
                <c:pt idx="36">
                  <c:v>7348</c:v>
                </c:pt>
                <c:pt idx="37">
                  <c:v>7346.5</c:v>
                </c:pt>
                <c:pt idx="38">
                  <c:v>7349.5</c:v>
                </c:pt>
                <c:pt idx="39">
                  <c:v>7348</c:v>
                </c:pt>
                <c:pt idx="40">
                  <c:v>7348.5</c:v>
                </c:pt>
                <c:pt idx="41">
                  <c:v>7351.25</c:v>
                </c:pt>
                <c:pt idx="42">
                  <c:v>7343.5</c:v>
                </c:pt>
                <c:pt idx="43">
                  <c:v>7351.75</c:v>
                </c:pt>
                <c:pt idx="44">
                  <c:v>7351</c:v>
                </c:pt>
                <c:pt idx="45">
                  <c:v>7351.5</c:v>
                </c:pt>
                <c:pt idx="46">
                  <c:v>7351.5</c:v>
                </c:pt>
                <c:pt idx="47">
                  <c:v>7355</c:v>
                </c:pt>
                <c:pt idx="48">
                  <c:v>7350</c:v>
                </c:pt>
                <c:pt idx="49">
                  <c:v>7353.5</c:v>
                </c:pt>
                <c:pt idx="50">
                  <c:v>7348.75</c:v>
                </c:pt>
                <c:pt idx="51">
                  <c:v>7358.5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5.5</c:v>
                </c:pt>
                <c:pt idx="57">
                  <c:v>7358</c:v>
                </c:pt>
                <c:pt idx="58">
                  <c:v>7353.25</c:v>
                </c:pt>
                <c:pt idx="59">
                  <c:v>7360.25</c:v>
                </c:pt>
                <c:pt idx="60">
                  <c:v>7356</c:v>
                </c:pt>
                <c:pt idx="61">
                  <c:v>7350.25</c:v>
                </c:pt>
                <c:pt idx="62">
                  <c:v>7350</c:v>
                </c:pt>
                <c:pt idx="63">
                  <c:v>7355.5</c:v>
                </c:pt>
                <c:pt idx="64">
                  <c:v>7348.25</c:v>
                </c:pt>
                <c:pt idx="65">
                  <c:v>7353.25</c:v>
                </c:pt>
                <c:pt idx="66">
                  <c:v>7350.75</c:v>
                </c:pt>
                <c:pt idx="67">
                  <c:v>7350.25</c:v>
                </c:pt>
                <c:pt idx="68">
                  <c:v>7353.75</c:v>
                </c:pt>
                <c:pt idx="69">
                  <c:v>7355.5</c:v>
                </c:pt>
                <c:pt idx="70">
                  <c:v>7350.5</c:v>
                </c:pt>
                <c:pt idx="71">
                  <c:v>7355.5</c:v>
                </c:pt>
                <c:pt idx="72">
                  <c:v>7357</c:v>
                </c:pt>
                <c:pt idx="73">
                  <c:v>7354.25</c:v>
                </c:pt>
                <c:pt idx="74">
                  <c:v>7352</c:v>
                </c:pt>
                <c:pt idx="75">
                  <c:v>7352.5</c:v>
                </c:pt>
                <c:pt idx="76">
                  <c:v>7359.75</c:v>
                </c:pt>
                <c:pt idx="77">
                  <c:v>7353.75</c:v>
                </c:pt>
                <c:pt idx="78">
                  <c:v>7361</c:v>
                </c:pt>
                <c:pt idx="79">
                  <c:v>7354</c:v>
                </c:pt>
                <c:pt idx="80">
                  <c:v>7356.5</c:v>
                </c:pt>
                <c:pt idx="81">
                  <c:v>7350.5</c:v>
                </c:pt>
                <c:pt idx="82">
                  <c:v>7357.75</c:v>
                </c:pt>
                <c:pt idx="83">
                  <c:v>7350.25</c:v>
                </c:pt>
                <c:pt idx="84">
                  <c:v>7361.75</c:v>
                </c:pt>
                <c:pt idx="85">
                  <c:v>7357.5</c:v>
                </c:pt>
                <c:pt idx="86">
                  <c:v>7353.25</c:v>
                </c:pt>
                <c:pt idx="87">
                  <c:v>7354</c:v>
                </c:pt>
                <c:pt idx="88">
                  <c:v>7360</c:v>
                </c:pt>
                <c:pt idx="89">
                  <c:v>7359.5</c:v>
                </c:pt>
                <c:pt idx="90">
                  <c:v>7360.5</c:v>
                </c:pt>
                <c:pt idx="91">
                  <c:v>7356</c:v>
                </c:pt>
                <c:pt idx="92">
                  <c:v>7357.5</c:v>
                </c:pt>
                <c:pt idx="93">
                  <c:v>7359.5</c:v>
                </c:pt>
                <c:pt idx="94">
                  <c:v>7357</c:v>
                </c:pt>
                <c:pt idx="95">
                  <c:v>7357</c:v>
                </c:pt>
                <c:pt idx="96">
                  <c:v>7361.5</c:v>
                </c:pt>
                <c:pt idx="97">
                  <c:v>7358</c:v>
                </c:pt>
                <c:pt idx="98">
                  <c:v>7358</c:v>
                </c:pt>
                <c:pt idx="99">
                  <c:v>7356.75</c:v>
                </c:pt>
                <c:pt idx="100">
                  <c:v>7356</c:v>
                </c:pt>
                <c:pt idx="101">
                  <c:v>7359</c:v>
                </c:pt>
                <c:pt idx="102">
                  <c:v>7361.25</c:v>
                </c:pt>
                <c:pt idx="103">
                  <c:v>7357.5</c:v>
                </c:pt>
                <c:pt idx="104">
                  <c:v>7355.5</c:v>
                </c:pt>
                <c:pt idx="105">
                  <c:v>7361.5</c:v>
                </c:pt>
                <c:pt idx="106">
                  <c:v>7360.75</c:v>
                </c:pt>
                <c:pt idx="107">
                  <c:v>7355.5</c:v>
                </c:pt>
                <c:pt idx="108">
                  <c:v>7350.25</c:v>
                </c:pt>
                <c:pt idx="109">
                  <c:v>7356.75</c:v>
                </c:pt>
                <c:pt idx="110">
                  <c:v>7355.25</c:v>
                </c:pt>
                <c:pt idx="111">
                  <c:v>7352</c:v>
                </c:pt>
                <c:pt idx="112">
                  <c:v>7353.75</c:v>
                </c:pt>
                <c:pt idx="113">
                  <c:v>7352.25</c:v>
                </c:pt>
                <c:pt idx="114">
                  <c:v>7355.5</c:v>
                </c:pt>
                <c:pt idx="115">
                  <c:v>7355.75</c:v>
                </c:pt>
                <c:pt idx="116">
                  <c:v>7347.75</c:v>
                </c:pt>
                <c:pt idx="117">
                  <c:v>7356</c:v>
                </c:pt>
                <c:pt idx="118">
                  <c:v>7344.25</c:v>
                </c:pt>
                <c:pt idx="119">
                  <c:v>7354.75</c:v>
                </c:pt>
                <c:pt idx="120">
                  <c:v>7352</c:v>
                </c:pt>
                <c:pt idx="121">
                  <c:v>7353</c:v>
                </c:pt>
                <c:pt idx="122">
                  <c:v>7350.75</c:v>
                </c:pt>
                <c:pt idx="123">
                  <c:v>7352.5</c:v>
                </c:pt>
                <c:pt idx="124">
                  <c:v>7352</c:v>
                </c:pt>
                <c:pt idx="125">
                  <c:v>7353.5</c:v>
                </c:pt>
                <c:pt idx="126">
                  <c:v>7349.75</c:v>
                </c:pt>
                <c:pt idx="127">
                  <c:v>7351.75</c:v>
                </c:pt>
                <c:pt idx="128">
                  <c:v>7346.25</c:v>
                </c:pt>
                <c:pt idx="129">
                  <c:v>7346.5</c:v>
                </c:pt>
                <c:pt idx="130">
                  <c:v>7344</c:v>
                </c:pt>
                <c:pt idx="131">
                  <c:v>7342.5</c:v>
                </c:pt>
                <c:pt idx="132">
                  <c:v>7339.25</c:v>
                </c:pt>
                <c:pt idx="133">
                  <c:v>7338.5</c:v>
                </c:pt>
                <c:pt idx="134">
                  <c:v>7339.25</c:v>
                </c:pt>
                <c:pt idx="135">
                  <c:v>7336.5</c:v>
                </c:pt>
                <c:pt idx="136">
                  <c:v>7331.5</c:v>
                </c:pt>
                <c:pt idx="137">
                  <c:v>7334.25</c:v>
                </c:pt>
                <c:pt idx="138">
                  <c:v>7336.5</c:v>
                </c:pt>
                <c:pt idx="139">
                  <c:v>7338.75</c:v>
                </c:pt>
                <c:pt idx="140">
                  <c:v>7342.5</c:v>
                </c:pt>
                <c:pt idx="141">
                  <c:v>7339.75</c:v>
                </c:pt>
                <c:pt idx="142">
                  <c:v>7339.5</c:v>
                </c:pt>
                <c:pt idx="143">
                  <c:v>7343.5</c:v>
                </c:pt>
                <c:pt idx="144">
                  <c:v>7347.5</c:v>
                </c:pt>
                <c:pt idx="145">
                  <c:v>7348.75</c:v>
                </c:pt>
                <c:pt idx="146">
                  <c:v>7341.25</c:v>
                </c:pt>
                <c:pt idx="147">
                  <c:v>7340.75</c:v>
                </c:pt>
                <c:pt idx="148">
                  <c:v>7344.75</c:v>
                </c:pt>
                <c:pt idx="149">
                  <c:v>7343.75</c:v>
                </c:pt>
                <c:pt idx="150">
                  <c:v>7339.75</c:v>
                </c:pt>
                <c:pt idx="151">
                  <c:v>7337.5</c:v>
                </c:pt>
                <c:pt idx="152">
                  <c:v>7339.5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.25</c:v>
                </c:pt>
                <c:pt idx="157">
                  <c:v>7326.5</c:v>
                </c:pt>
                <c:pt idx="158">
                  <c:v>7325.5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.25</c:v>
                </c:pt>
                <c:pt idx="164">
                  <c:v>7319.5</c:v>
                </c:pt>
                <c:pt idx="165">
                  <c:v>7315.75</c:v>
                </c:pt>
                <c:pt idx="166">
                  <c:v>7321</c:v>
                </c:pt>
                <c:pt idx="167">
                  <c:v>787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41-4602-9258-A76CF9AB45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 formatCode="_(* #,##0_);_(* \(#,##0\);_(* &quot;-&quot;??_);_(@_)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41-4602-9258-A76CF9AB45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D$2:$D$169</c:f>
              <c:numCache>
                <c:formatCode>#,##0</c:formatCode>
                <c:ptCount val="168"/>
                <c:pt idx="0">
                  <c:v>3295.59</c:v>
                </c:pt>
                <c:pt idx="1">
                  <c:v>3299.1970000000001</c:v>
                </c:pt>
                <c:pt idx="2">
                  <c:v>3273.0219999999999</c:v>
                </c:pt>
                <c:pt idx="3">
                  <c:v>3279.9009999999998</c:v>
                </c:pt>
                <c:pt idx="4">
                  <c:v>3290.9090000000001</c:v>
                </c:pt>
                <c:pt idx="5">
                  <c:v>3333.3249999999998</c:v>
                </c:pt>
                <c:pt idx="6">
                  <c:v>3369.96</c:v>
                </c:pt>
                <c:pt idx="7">
                  <c:v>3392.1959999999999</c:v>
                </c:pt>
                <c:pt idx="8">
                  <c:v>3419.6660000000002</c:v>
                </c:pt>
                <c:pt idx="9">
                  <c:v>3287.6619999999998</c:v>
                </c:pt>
                <c:pt idx="10">
                  <c:v>3143.4470000000001</c:v>
                </c:pt>
                <c:pt idx="11">
                  <c:v>3060.3270000000002</c:v>
                </c:pt>
                <c:pt idx="12">
                  <c:v>3059.0639999999999</c:v>
                </c:pt>
                <c:pt idx="13">
                  <c:v>2846.788</c:v>
                </c:pt>
                <c:pt idx="14">
                  <c:v>2665.79</c:v>
                </c:pt>
                <c:pt idx="15">
                  <c:v>2777.2280000000001</c:v>
                </c:pt>
                <c:pt idx="16">
                  <c:v>2798.4450000000002</c:v>
                </c:pt>
                <c:pt idx="17">
                  <c:v>2786.9690000000001</c:v>
                </c:pt>
                <c:pt idx="18">
                  <c:v>2826.25</c:v>
                </c:pt>
                <c:pt idx="19">
                  <c:v>2694.68</c:v>
                </c:pt>
                <c:pt idx="20">
                  <c:v>2872.0909999999999</c:v>
                </c:pt>
                <c:pt idx="21">
                  <c:v>3058.3809999999999</c:v>
                </c:pt>
                <c:pt idx="22">
                  <c:v>3009.2440000000001</c:v>
                </c:pt>
                <c:pt idx="23">
                  <c:v>2656.7159999999999</c:v>
                </c:pt>
                <c:pt idx="24">
                  <c:v>2227.6060000000002</c:v>
                </c:pt>
                <c:pt idx="25">
                  <c:v>2436.1779999999999</c:v>
                </c:pt>
                <c:pt idx="26">
                  <c:v>2638.07</c:v>
                </c:pt>
                <c:pt idx="27">
                  <c:v>2268.5630000000001</c:v>
                </c:pt>
                <c:pt idx="28">
                  <c:v>2399.9009999999998</c:v>
                </c:pt>
                <c:pt idx="29">
                  <c:v>2673.8150000000001</c:v>
                </c:pt>
                <c:pt idx="30">
                  <c:v>2920.3319999999999</c:v>
                </c:pt>
                <c:pt idx="31">
                  <c:v>3122.8359999999998</c:v>
                </c:pt>
                <c:pt idx="32">
                  <c:v>3439.1860000000001</c:v>
                </c:pt>
                <c:pt idx="33">
                  <c:v>3500.2669999999998</c:v>
                </c:pt>
                <c:pt idx="34">
                  <c:v>3523.9259999999999</c:v>
                </c:pt>
                <c:pt idx="35">
                  <c:v>3522.4920000000002</c:v>
                </c:pt>
                <c:pt idx="36">
                  <c:v>3530.4360000000001</c:v>
                </c:pt>
                <c:pt idx="37">
                  <c:v>3515.0889999999999</c:v>
                </c:pt>
                <c:pt idx="38">
                  <c:v>3514.5149999999999</c:v>
                </c:pt>
                <c:pt idx="39">
                  <c:v>3515.9580000000001</c:v>
                </c:pt>
                <c:pt idx="40">
                  <c:v>3524.42</c:v>
                </c:pt>
                <c:pt idx="41">
                  <c:v>3503.4830000000002</c:v>
                </c:pt>
                <c:pt idx="42">
                  <c:v>3397.9209999999998</c:v>
                </c:pt>
                <c:pt idx="43">
                  <c:v>2758.24</c:v>
                </c:pt>
                <c:pt idx="44">
                  <c:v>2031.307</c:v>
                </c:pt>
                <c:pt idx="45">
                  <c:v>1866.107</c:v>
                </c:pt>
                <c:pt idx="46">
                  <c:v>1490.28</c:v>
                </c:pt>
                <c:pt idx="47">
                  <c:v>1363.8589999999999</c:v>
                </c:pt>
                <c:pt idx="48">
                  <c:v>1349.865</c:v>
                </c:pt>
                <c:pt idx="49">
                  <c:v>1457.5820000000001</c:v>
                </c:pt>
                <c:pt idx="50">
                  <c:v>1678.4839999999999</c:v>
                </c:pt>
                <c:pt idx="51">
                  <c:v>1919.296</c:v>
                </c:pt>
                <c:pt idx="52">
                  <c:v>1745.2840000000001</c:v>
                </c:pt>
                <c:pt idx="53">
                  <c:v>1556.327</c:v>
                </c:pt>
                <c:pt idx="54">
                  <c:v>1450.8520000000001</c:v>
                </c:pt>
                <c:pt idx="55">
                  <c:v>1167.3230000000001</c:v>
                </c:pt>
                <c:pt idx="56">
                  <c:v>869.78499999999997</c:v>
                </c:pt>
                <c:pt idx="57">
                  <c:v>1161.558</c:v>
                </c:pt>
                <c:pt idx="58">
                  <c:v>1026.712</c:v>
                </c:pt>
                <c:pt idx="59">
                  <c:v>955.81399999999996</c:v>
                </c:pt>
                <c:pt idx="60">
                  <c:v>1159.3240000000001</c:v>
                </c:pt>
                <c:pt idx="61">
                  <c:v>1180.826</c:v>
                </c:pt>
                <c:pt idx="62">
                  <c:v>958.27300000000002</c:v>
                </c:pt>
                <c:pt idx="63">
                  <c:v>764.36300000000006</c:v>
                </c:pt>
                <c:pt idx="64">
                  <c:v>631.58699999999999</c:v>
                </c:pt>
                <c:pt idx="65">
                  <c:v>424.28</c:v>
                </c:pt>
                <c:pt idx="66">
                  <c:v>625.678</c:v>
                </c:pt>
                <c:pt idx="67">
                  <c:v>827.20399999999995</c:v>
                </c:pt>
                <c:pt idx="68">
                  <c:v>1143.6569999999999</c:v>
                </c:pt>
                <c:pt idx="69">
                  <c:v>1824.2280000000001</c:v>
                </c:pt>
                <c:pt idx="70">
                  <c:v>1889.7829999999999</c:v>
                </c:pt>
                <c:pt idx="71">
                  <c:v>1685.742</c:v>
                </c:pt>
                <c:pt idx="72">
                  <c:v>2055.6379999999999</c:v>
                </c:pt>
                <c:pt idx="73">
                  <c:v>2150.2809999999999</c:v>
                </c:pt>
                <c:pt idx="74">
                  <c:v>2874.192</c:v>
                </c:pt>
                <c:pt idx="75">
                  <c:v>3284.5160000000001</c:v>
                </c:pt>
                <c:pt idx="76">
                  <c:v>3163.44</c:v>
                </c:pt>
                <c:pt idx="77">
                  <c:v>3060.0160000000001</c:v>
                </c:pt>
                <c:pt idx="78">
                  <c:v>2860.06</c:v>
                </c:pt>
                <c:pt idx="79">
                  <c:v>2940.1179999999999</c:v>
                </c:pt>
                <c:pt idx="80">
                  <c:v>3171.3130000000001</c:v>
                </c:pt>
                <c:pt idx="81">
                  <c:v>3270.3969999999999</c:v>
                </c:pt>
                <c:pt idx="82">
                  <c:v>3211.308</c:v>
                </c:pt>
                <c:pt idx="83">
                  <c:v>3204.6709999999998</c:v>
                </c:pt>
                <c:pt idx="84">
                  <c:v>3235.8939999999998</c:v>
                </c:pt>
                <c:pt idx="85">
                  <c:v>3287.3310000000001</c:v>
                </c:pt>
                <c:pt idx="86">
                  <c:v>3309.8580000000002</c:v>
                </c:pt>
                <c:pt idx="87">
                  <c:v>3223.098</c:v>
                </c:pt>
                <c:pt idx="88">
                  <c:v>3006.8870000000002</c:v>
                </c:pt>
                <c:pt idx="89">
                  <c:v>2659.5639999999999</c:v>
                </c:pt>
                <c:pt idx="90">
                  <c:v>2592.75</c:v>
                </c:pt>
                <c:pt idx="91">
                  <c:v>2344.2809999999999</c:v>
                </c:pt>
                <c:pt idx="92">
                  <c:v>1775.722</c:v>
                </c:pt>
                <c:pt idx="93">
                  <c:v>1570.816</c:v>
                </c:pt>
                <c:pt idx="94">
                  <c:v>1436.942</c:v>
                </c:pt>
                <c:pt idx="95">
                  <c:v>1284.98</c:v>
                </c:pt>
                <c:pt idx="96">
                  <c:v>1181.2349999999999</c:v>
                </c:pt>
                <c:pt idx="97">
                  <c:v>1194.3969999999999</c:v>
                </c:pt>
                <c:pt idx="98">
                  <c:v>1205.9839999999999</c:v>
                </c:pt>
                <c:pt idx="99">
                  <c:v>1019.899</c:v>
                </c:pt>
                <c:pt idx="100">
                  <c:v>828.21799999999996</c:v>
                </c:pt>
                <c:pt idx="101">
                  <c:v>804.82299999999998</c:v>
                </c:pt>
                <c:pt idx="102">
                  <c:v>617.16899999999998</c:v>
                </c:pt>
                <c:pt idx="103">
                  <c:v>385.089</c:v>
                </c:pt>
                <c:pt idx="104">
                  <c:v>188.90100000000001</c:v>
                </c:pt>
                <c:pt idx="105">
                  <c:v>209.304</c:v>
                </c:pt>
                <c:pt idx="106">
                  <c:v>320.88799999999998</c:v>
                </c:pt>
                <c:pt idx="107">
                  <c:v>397.90100000000001</c:v>
                </c:pt>
                <c:pt idx="108">
                  <c:v>368.40600000000001</c:v>
                </c:pt>
                <c:pt idx="109">
                  <c:v>524.17700000000002</c:v>
                </c:pt>
                <c:pt idx="110">
                  <c:v>772.94799999999998</c:v>
                </c:pt>
                <c:pt idx="111">
                  <c:v>1192.9079999999999</c:v>
                </c:pt>
                <c:pt idx="112">
                  <c:v>1537.499</c:v>
                </c:pt>
                <c:pt idx="113">
                  <c:v>1993.1130000000001</c:v>
                </c:pt>
                <c:pt idx="114">
                  <c:v>2345.8069999999998</c:v>
                </c:pt>
                <c:pt idx="115">
                  <c:v>2600.3420000000001</c:v>
                </c:pt>
                <c:pt idx="116">
                  <c:v>2827.7370000000001</c:v>
                </c:pt>
                <c:pt idx="117">
                  <c:v>3120.0590000000002</c:v>
                </c:pt>
                <c:pt idx="118">
                  <c:v>3267.49</c:v>
                </c:pt>
                <c:pt idx="119">
                  <c:v>3358.163</c:v>
                </c:pt>
                <c:pt idx="120">
                  <c:v>3436.0450000000001</c:v>
                </c:pt>
                <c:pt idx="121">
                  <c:v>3412.0509999999999</c:v>
                </c:pt>
                <c:pt idx="122">
                  <c:v>3390.99</c:v>
                </c:pt>
                <c:pt idx="123">
                  <c:v>3314.049</c:v>
                </c:pt>
                <c:pt idx="124">
                  <c:v>3250.1419999999998</c:v>
                </c:pt>
                <c:pt idx="125">
                  <c:v>3195.1550000000002</c:v>
                </c:pt>
                <c:pt idx="126">
                  <c:v>3114.9</c:v>
                </c:pt>
                <c:pt idx="127">
                  <c:v>2999.0819999999999</c:v>
                </c:pt>
                <c:pt idx="128">
                  <c:v>2615.0120000000002</c:v>
                </c:pt>
                <c:pt idx="129">
                  <c:v>2316.0940000000001</c:v>
                </c:pt>
                <c:pt idx="130">
                  <c:v>2129.0859999999998</c:v>
                </c:pt>
                <c:pt idx="131">
                  <c:v>1846.0940000000001</c:v>
                </c:pt>
                <c:pt idx="132">
                  <c:v>1339.01</c:v>
                </c:pt>
                <c:pt idx="133">
                  <c:v>970.11599999999999</c:v>
                </c:pt>
                <c:pt idx="134">
                  <c:v>884.03300000000002</c:v>
                </c:pt>
                <c:pt idx="135">
                  <c:v>950.01499999999999</c:v>
                </c:pt>
                <c:pt idx="136">
                  <c:v>882.19799999999998</c:v>
                </c:pt>
                <c:pt idx="137">
                  <c:v>623.12</c:v>
                </c:pt>
                <c:pt idx="138">
                  <c:v>398.85899999999998</c:v>
                </c:pt>
                <c:pt idx="139">
                  <c:v>338</c:v>
                </c:pt>
                <c:pt idx="140">
                  <c:v>592</c:v>
                </c:pt>
                <c:pt idx="141">
                  <c:v>1092.8989999999999</c:v>
                </c:pt>
                <c:pt idx="142">
                  <c:v>1717.155</c:v>
                </c:pt>
                <c:pt idx="143">
                  <c:v>1826.364</c:v>
                </c:pt>
                <c:pt idx="144">
                  <c:v>1899.2049999999999</c:v>
                </c:pt>
                <c:pt idx="145">
                  <c:v>1890.268</c:v>
                </c:pt>
                <c:pt idx="146">
                  <c:v>1834.5540000000001</c:v>
                </c:pt>
                <c:pt idx="147">
                  <c:v>1689.69</c:v>
                </c:pt>
                <c:pt idx="148">
                  <c:v>1438.914</c:v>
                </c:pt>
                <c:pt idx="149">
                  <c:v>1185.664</c:v>
                </c:pt>
                <c:pt idx="150">
                  <c:v>1348.85</c:v>
                </c:pt>
                <c:pt idx="151">
                  <c:v>1386.356</c:v>
                </c:pt>
                <c:pt idx="152">
                  <c:v>1256.068</c:v>
                </c:pt>
                <c:pt idx="153">
                  <c:v>1032.7449999999999</c:v>
                </c:pt>
                <c:pt idx="154">
                  <c:v>1191.3869999999999</c:v>
                </c:pt>
                <c:pt idx="155">
                  <c:v>1498.8019999999999</c:v>
                </c:pt>
                <c:pt idx="156">
                  <c:v>1506.9760000000001</c:v>
                </c:pt>
                <c:pt idx="157">
                  <c:v>2250.8490000000002</c:v>
                </c:pt>
                <c:pt idx="158">
                  <c:v>3082.8389999999999</c:v>
                </c:pt>
                <c:pt idx="159">
                  <c:v>3209.3110000000001</c:v>
                </c:pt>
                <c:pt idx="160">
                  <c:v>3294.0819999999999</c:v>
                </c:pt>
                <c:pt idx="161">
                  <c:v>3335.527</c:v>
                </c:pt>
                <c:pt idx="162">
                  <c:v>3237.366</c:v>
                </c:pt>
                <c:pt idx="163">
                  <c:v>3418.7710000000002</c:v>
                </c:pt>
                <c:pt idx="164">
                  <c:v>3485.357</c:v>
                </c:pt>
                <c:pt idx="165">
                  <c:v>3391.5540000000001</c:v>
                </c:pt>
                <c:pt idx="166">
                  <c:v>3152.1970000000001</c:v>
                </c:pt>
                <c:pt idx="167" formatCode="_(* #,##0_);_(* \(#,##0\);_(* &quot;-&quot;??_);_(@_)">
                  <c:v>2764.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41-4602-9258-A76CF9AB45C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1241-4602-9258-A76CF9AB45C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4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50209520"/>
        <c:axId val="850210696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241-4602-9258-A76CF9AB45C7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H$2:$H$169</c:f>
              <c:numCache>
                <c:formatCode>_(* #,##0_);_(* \(#,##0\);_(* "-"??_);_(@_)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50209520"/>
        <c:axId val="850210696"/>
      </c:lineChart>
      <c:catAx>
        <c:axId val="850209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0210696"/>
        <c:crosses val="autoZero"/>
        <c:auto val="1"/>
        <c:lblAlgn val="ctr"/>
        <c:lblOffset val="100"/>
        <c:noMultiLvlLbl val="0"/>
      </c:catAx>
      <c:valAx>
        <c:axId val="850210696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0209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3"/>
        <c:delete val="1"/>
      </c:legendEntry>
      <c:legendEntry>
        <c:idx val="4"/>
        <c:delete val="1"/>
      </c:legendEntry>
      <c:legendEntry>
        <c:idx val="6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CJC Targets Hourly MW for April Week</a:t>
            </a:r>
          </a:p>
        </c:rich>
      </c:tx>
      <c:layout>
        <c:manualLayout>
          <c:xMode val="edge"/>
          <c:yMode val="edge"/>
          <c:x val="0.1594028424299774"/>
          <c:y val="2.21929374471525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3455383705208"/>
          <c:y val="0.19998545226738207"/>
          <c:w val="0.82639774474876027"/>
          <c:h val="0.633885120531022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2</c:v>
                </c:pt>
                <c:pt idx="2">
                  <c:v>7345</c:v>
                </c:pt>
                <c:pt idx="3">
                  <c:v>7343</c:v>
                </c:pt>
                <c:pt idx="4">
                  <c:v>7342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</c:v>
                </c:pt>
                <c:pt idx="9">
                  <c:v>7350</c:v>
                </c:pt>
                <c:pt idx="10">
                  <c:v>7352</c:v>
                </c:pt>
                <c:pt idx="11">
                  <c:v>7342</c:v>
                </c:pt>
                <c:pt idx="12">
                  <c:v>7346</c:v>
                </c:pt>
                <c:pt idx="13">
                  <c:v>7348</c:v>
                </c:pt>
                <c:pt idx="14">
                  <c:v>7346</c:v>
                </c:pt>
                <c:pt idx="15">
                  <c:v>7345</c:v>
                </c:pt>
                <c:pt idx="16">
                  <c:v>7346</c:v>
                </c:pt>
                <c:pt idx="17">
                  <c:v>7339</c:v>
                </c:pt>
                <c:pt idx="18">
                  <c:v>7344</c:v>
                </c:pt>
                <c:pt idx="19">
                  <c:v>7341</c:v>
                </c:pt>
                <c:pt idx="20">
                  <c:v>7345</c:v>
                </c:pt>
                <c:pt idx="21">
                  <c:v>7339</c:v>
                </c:pt>
                <c:pt idx="22">
                  <c:v>7344</c:v>
                </c:pt>
                <c:pt idx="23">
                  <c:v>7337</c:v>
                </c:pt>
                <c:pt idx="24">
                  <c:v>7343</c:v>
                </c:pt>
                <c:pt idx="25">
                  <c:v>7337</c:v>
                </c:pt>
                <c:pt idx="26">
                  <c:v>7350</c:v>
                </c:pt>
                <c:pt idx="27">
                  <c:v>7345</c:v>
                </c:pt>
                <c:pt idx="28">
                  <c:v>7345</c:v>
                </c:pt>
                <c:pt idx="29">
                  <c:v>7343</c:v>
                </c:pt>
                <c:pt idx="30">
                  <c:v>7344</c:v>
                </c:pt>
                <c:pt idx="31">
                  <c:v>7348</c:v>
                </c:pt>
                <c:pt idx="32">
                  <c:v>7347</c:v>
                </c:pt>
                <c:pt idx="33">
                  <c:v>7346</c:v>
                </c:pt>
                <c:pt idx="34">
                  <c:v>7350</c:v>
                </c:pt>
                <c:pt idx="35">
                  <c:v>7345</c:v>
                </c:pt>
                <c:pt idx="36">
                  <c:v>7348</c:v>
                </c:pt>
                <c:pt idx="37">
                  <c:v>7347</c:v>
                </c:pt>
                <c:pt idx="38">
                  <c:v>7350</c:v>
                </c:pt>
                <c:pt idx="39">
                  <c:v>7348</c:v>
                </c:pt>
                <c:pt idx="40">
                  <c:v>7349</c:v>
                </c:pt>
                <c:pt idx="41">
                  <c:v>7351</c:v>
                </c:pt>
                <c:pt idx="42">
                  <c:v>7344</c:v>
                </c:pt>
                <c:pt idx="43">
                  <c:v>7352</c:v>
                </c:pt>
                <c:pt idx="44">
                  <c:v>7351</c:v>
                </c:pt>
                <c:pt idx="45">
                  <c:v>7352</c:v>
                </c:pt>
                <c:pt idx="46">
                  <c:v>7352</c:v>
                </c:pt>
                <c:pt idx="47">
                  <c:v>7355</c:v>
                </c:pt>
                <c:pt idx="48">
                  <c:v>7350</c:v>
                </c:pt>
                <c:pt idx="49">
                  <c:v>7354</c:v>
                </c:pt>
                <c:pt idx="50">
                  <c:v>7349</c:v>
                </c:pt>
                <c:pt idx="51">
                  <c:v>7359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6</c:v>
                </c:pt>
                <c:pt idx="57">
                  <c:v>7358</c:v>
                </c:pt>
                <c:pt idx="58">
                  <c:v>7353</c:v>
                </c:pt>
                <c:pt idx="59">
                  <c:v>7360</c:v>
                </c:pt>
                <c:pt idx="60">
                  <c:v>7356</c:v>
                </c:pt>
                <c:pt idx="61">
                  <c:v>7350</c:v>
                </c:pt>
                <c:pt idx="62">
                  <c:v>7350</c:v>
                </c:pt>
                <c:pt idx="63">
                  <c:v>7356</c:v>
                </c:pt>
                <c:pt idx="64">
                  <c:v>7348</c:v>
                </c:pt>
                <c:pt idx="65">
                  <c:v>7353</c:v>
                </c:pt>
                <c:pt idx="66">
                  <c:v>7351</c:v>
                </c:pt>
                <c:pt idx="67">
                  <c:v>7350</c:v>
                </c:pt>
                <c:pt idx="68">
                  <c:v>7354</c:v>
                </c:pt>
                <c:pt idx="69">
                  <c:v>7356</c:v>
                </c:pt>
                <c:pt idx="70">
                  <c:v>7351</c:v>
                </c:pt>
                <c:pt idx="71">
                  <c:v>7356</c:v>
                </c:pt>
                <c:pt idx="72">
                  <c:v>7357</c:v>
                </c:pt>
                <c:pt idx="73">
                  <c:v>7354</c:v>
                </c:pt>
                <c:pt idx="74">
                  <c:v>7352</c:v>
                </c:pt>
                <c:pt idx="75">
                  <c:v>7353</c:v>
                </c:pt>
                <c:pt idx="76">
                  <c:v>7360</c:v>
                </c:pt>
                <c:pt idx="77">
                  <c:v>7354</c:v>
                </c:pt>
                <c:pt idx="78">
                  <c:v>7361</c:v>
                </c:pt>
                <c:pt idx="79">
                  <c:v>7354</c:v>
                </c:pt>
                <c:pt idx="80">
                  <c:v>7357</c:v>
                </c:pt>
                <c:pt idx="81">
                  <c:v>7351</c:v>
                </c:pt>
                <c:pt idx="82">
                  <c:v>7358</c:v>
                </c:pt>
                <c:pt idx="83">
                  <c:v>7350</c:v>
                </c:pt>
                <c:pt idx="84">
                  <c:v>7362</c:v>
                </c:pt>
                <c:pt idx="85">
                  <c:v>7358</c:v>
                </c:pt>
                <c:pt idx="86">
                  <c:v>7353</c:v>
                </c:pt>
                <c:pt idx="87">
                  <c:v>7354</c:v>
                </c:pt>
                <c:pt idx="88">
                  <c:v>7360</c:v>
                </c:pt>
                <c:pt idx="89">
                  <c:v>7360</c:v>
                </c:pt>
                <c:pt idx="90">
                  <c:v>7361</c:v>
                </c:pt>
                <c:pt idx="91">
                  <c:v>7356</c:v>
                </c:pt>
                <c:pt idx="92">
                  <c:v>7358</c:v>
                </c:pt>
                <c:pt idx="93">
                  <c:v>7360</c:v>
                </c:pt>
                <c:pt idx="94">
                  <c:v>7357</c:v>
                </c:pt>
                <c:pt idx="95">
                  <c:v>7357</c:v>
                </c:pt>
                <c:pt idx="96">
                  <c:v>7362</c:v>
                </c:pt>
                <c:pt idx="97">
                  <c:v>7358</c:v>
                </c:pt>
                <c:pt idx="98">
                  <c:v>7358</c:v>
                </c:pt>
                <c:pt idx="99">
                  <c:v>7357</c:v>
                </c:pt>
                <c:pt idx="100">
                  <c:v>7356</c:v>
                </c:pt>
                <c:pt idx="101">
                  <c:v>7359</c:v>
                </c:pt>
                <c:pt idx="102">
                  <c:v>7361</c:v>
                </c:pt>
                <c:pt idx="103">
                  <c:v>7358</c:v>
                </c:pt>
                <c:pt idx="104">
                  <c:v>7356</c:v>
                </c:pt>
                <c:pt idx="105">
                  <c:v>7362</c:v>
                </c:pt>
                <c:pt idx="106">
                  <c:v>7361</c:v>
                </c:pt>
                <c:pt idx="107">
                  <c:v>7356</c:v>
                </c:pt>
                <c:pt idx="108">
                  <c:v>7350</c:v>
                </c:pt>
                <c:pt idx="109">
                  <c:v>7357</c:v>
                </c:pt>
                <c:pt idx="110">
                  <c:v>7355</c:v>
                </c:pt>
                <c:pt idx="111">
                  <c:v>7352</c:v>
                </c:pt>
                <c:pt idx="112">
                  <c:v>7354</c:v>
                </c:pt>
                <c:pt idx="113">
                  <c:v>7352</c:v>
                </c:pt>
                <c:pt idx="114">
                  <c:v>7356</c:v>
                </c:pt>
                <c:pt idx="115">
                  <c:v>7356</c:v>
                </c:pt>
                <c:pt idx="116">
                  <c:v>7348</c:v>
                </c:pt>
                <c:pt idx="117">
                  <c:v>7356</c:v>
                </c:pt>
                <c:pt idx="118">
                  <c:v>7344</c:v>
                </c:pt>
                <c:pt idx="119">
                  <c:v>7355</c:v>
                </c:pt>
                <c:pt idx="120">
                  <c:v>7352</c:v>
                </c:pt>
                <c:pt idx="121">
                  <c:v>7353</c:v>
                </c:pt>
                <c:pt idx="122">
                  <c:v>7351</c:v>
                </c:pt>
                <c:pt idx="123">
                  <c:v>7353</c:v>
                </c:pt>
                <c:pt idx="124">
                  <c:v>7352</c:v>
                </c:pt>
                <c:pt idx="125">
                  <c:v>7354</c:v>
                </c:pt>
                <c:pt idx="126">
                  <c:v>7350</c:v>
                </c:pt>
                <c:pt idx="127">
                  <c:v>7352</c:v>
                </c:pt>
                <c:pt idx="128">
                  <c:v>7346</c:v>
                </c:pt>
                <c:pt idx="129">
                  <c:v>7347</c:v>
                </c:pt>
                <c:pt idx="130">
                  <c:v>7344</c:v>
                </c:pt>
                <c:pt idx="131">
                  <c:v>7343</c:v>
                </c:pt>
                <c:pt idx="132">
                  <c:v>7339</c:v>
                </c:pt>
                <c:pt idx="133">
                  <c:v>7339</c:v>
                </c:pt>
                <c:pt idx="134">
                  <c:v>7339</c:v>
                </c:pt>
                <c:pt idx="135">
                  <c:v>7337</c:v>
                </c:pt>
                <c:pt idx="136">
                  <c:v>7332</c:v>
                </c:pt>
                <c:pt idx="137">
                  <c:v>7334</c:v>
                </c:pt>
                <c:pt idx="138">
                  <c:v>7337</c:v>
                </c:pt>
                <c:pt idx="139">
                  <c:v>7339</c:v>
                </c:pt>
                <c:pt idx="140">
                  <c:v>7343</c:v>
                </c:pt>
                <c:pt idx="141">
                  <c:v>7340</c:v>
                </c:pt>
                <c:pt idx="142">
                  <c:v>7340</c:v>
                </c:pt>
                <c:pt idx="143">
                  <c:v>7344</c:v>
                </c:pt>
                <c:pt idx="144">
                  <c:v>7348</c:v>
                </c:pt>
                <c:pt idx="145">
                  <c:v>7349</c:v>
                </c:pt>
                <c:pt idx="146">
                  <c:v>7341</c:v>
                </c:pt>
                <c:pt idx="147">
                  <c:v>7341</c:v>
                </c:pt>
                <c:pt idx="148">
                  <c:v>7345</c:v>
                </c:pt>
                <c:pt idx="149">
                  <c:v>7344</c:v>
                </c:pt>
                <c:pt idx="150">
                  <c:v>7340</c:v>
                </c:pt>
                <c:pt idx="151">
                  <c:v>7338</c:v>
                </c:pt>
                <c:pt idx="152">
                  <c:v>7340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</c:v>
                </c:pt>
                <c:pt idx="157">
                  <c:v>7327</c:v>
                </c:pt>
                <c:pt idx="158">
                  <c:v>7326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</c:v>
                </c:pt>
                <c:pt idx="164">
                  <c:v>7320</c:v>
                </c:pt>
                <c:pt idx="165">
                  <c:v>7316</c:v>
                </c:pt>
                <c:pt idx="166">
                  <c:v>7321</c:v>
                </c:pt>
                <c:pt idx="167">
                  <c:v>7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15-4A4A-B116-48867BB5BB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 formatCode="_(* #,##0_);_(* \(#,##0\);_(* &quot;-&quot;??_);_(@_)">
                  <c:v>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15-4A4A-B116-48867BB5BB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D$2:$D$169</c:f>
              <c:numCache>
                <c:formatCode>#,##0</c:formatCode>
                <c:ptCount val="168"/>
                <c:pt idx="0">
                  <c:v>3295.59</c:v>
                </c:pt>
                <c:pt idx="1">
                  <c:v>3299.1970000000001</c:v>
                </c:pt>
                <c:pt idx="2">
                  <c:v>3273.0219999999999</c:v>
                </c:pt>
                <c:pt idx="3">
                  <c:v>3279.9009999999998</c:v>
                </c:pt>
                <c:pt idx="4">
                  <c:v>3290.9090000000001</c:v>
                </c:pt>
                <c:pt idx="5">
                  <c:v>3333.3249999999998</c:v>
                </c:pt>
                <c:pt idx="6">
                  <c:v>3369.96</c:v>
                </c:pt>
                <c:pt idx="7">
                  <c:v>3392.1959999999999</c:v>
                </c:pt>
                <c:pt idx="8">
                  <c:v>3419.6660000000002</c:v>
                </c:pt>
                <c:pt idx="9">
                  <c:v>3287.6619999999998</c:v>
                </c:pt>
                <c:pt idx="10">
                  <c:v>3143.4470000000001</c:v>
                </c:pt>
                <c:pt idx="11">
                  <c:v>3060.3270000000002</c:v>
                </c:pt>
                <c:pt idx="12">
                  <c:v>3059.0639999999999</c:v>
                </c:pt>
                <c:pt idx="13">
                  <c:v>2846.788</c:v>
                </c:pt>
                <c:pt idx="14">
                  <c:v>2665.79</c:v>
                </c:pt>
                <c:pt idx="15">
                  <c:v>2777.2280000000001</c:v>
                </c:pt>
                <c:pt idx="16">
                  <c:v>2798.4450000000002</c:v>
                </c:pt>
                <c:pt idx="17">
                  <c:v>2786.9690000000001</c:v>
                </c:pt>
                <c:pt idx="18">
                  <c:v>2826.25</c:v>
                </c:pt>
                <c:pt idx="19">
                  <c:v>2694.68</c:v>
                </c:pt>
                <c:pt idx="20">
                  <c:v>2872.0909999999999</c:v>
                </c:pt>
                <c:pt idx="21">
                  <c:v>3058.3809999999999</c:v>
                </c:pt>
                <c:pt idx="22">
                  <c:v>3009.2440000000001</c:v>
                </c:pt>
                <c:pt idx="23">
                  <c:v>2656.7159999999999</c:v>
                </c:pt>
                <c:pt idx="24">
                  <c:v>2227.6060000000002</c:v>
                </c:pt>
                <c:pt idx="25">
                  <c:v>2436.1779999999999</c:v>
                </c:pt>
                <c:pt idx="26">
                  <c:v>2638.07</c:v>
                </c:pt>
                <c:pt idx="27">
                  <c:v>2268.5630000000001</c:v>
                </c:pt>
                <c:pt idx="28">
                  <c:v>2399.9009999999998</c:v>
                </c:pt>
                <c:pt idx="29">
                  <c:v>2673.8150000000001</c:v>
                </c:pt>
                <c:pt idx="30">
                  <c:v>2920.3319999999999</c:v>
                </c:pt>
                <c:pt idx="31">
                  <c:v>3122.8359999999998</c:v>
                </c:pt>
                <c:pt idx="32">
                  <c:v>3439.1860000000001</c:v>
                </c:pt>
                <c:pt idx="33">
                  <c:v>3500.2669999999998</c:v>
                </c:pt>
                <c:pt idx="34">
                  <c:v>3523.9259999999999</c:v>
                </c:pt>
                <c:pt idx="35">
                  <c:v>3522.4920000000002</c:v>
                </c:pt>
                <c:pt idx="36">
                  <c:v>3530.4360000000001</c:v>
                </c:pt>
                <c:pt idx="37">
                  <c:v>3515.0889999999999</c:v>
                </c:pt>
                <c:pt idx="38">
                  <c:v>3514.5149999999999</c:v>
                </c:pt>
                <c:pt idx="39">
                  <c:v>3515.9580000000001</c:v>
                </c:pt>
                <c:pt idx="40">
                  <c:v>3524.42</c:v>
                </c:pt>
                <c:pt idx="41">
                  <c:v>3503.4830000000002</c:v>
                </c:pt>
                <c:pt idx="42">
                  <c:v>3397.9209999999998</c:v>
                </c:pt>
                <c:pt idx="43">
                  <c:v>2758.24</c:v>
                </c:pt>
                <c:pt idx="44">
                  <c:v>2031.307</c:v>
                </c:pt>
                <c:pt idx="45">
                  <c:v>1866.107</c:v>
                </c:pt>
                <c:pt idx="46">
                  <c:v>1490.28</c:v>
                </c:pt>
                <c:pt idx="47">
                  <c:v>1363.8589999999999</c:v>
                </c:pt>
                <c:pt idx="48">
                  <c:v>1349.865</c:v>
                </c:pt>
                <c:pt idx="49">
                  <c:v>1457.5820000000001</c:v>
                </c:pt>
                <c:pt idx="50">
                  <c:v>1678.4839999999999</c:v>
                </c:pt>
                <c:pt idx="51">
                  <c:v>1919.296</c:v>
                </c:pt>
                <c:pt idx="52">
                  <c:v>1745.2840000000001</c:v>
                </c:pt>
                <c:pt idx="53">
                  <c:v>1556.327</c:v>
                </c:pt>
                <c:pt idx="54">
                  <c:v>1450.8520000000001</c:v>
                </c:pt>
                <c:pt idx="55">
                  <c:v>1167.3230000000001</c:v>
                </c:pt>
                <c:pt idx="56">
                  <c:v>869.78499999999997</c:v>
                </c:pt>
                <c:pt idx="57">
                  <c:v>1161.558</c:v>
                </c:pt>
                <c:pt idx="58">
                  <c:v>1026.712</c:v>
                </c:pt>
                <c:pt idx="59">
                  <c:v>955.81399999999996</c:v>
                </c:pt>
                <c:pt idx="60">
                  <c:v>1159.3240000000001</c:v>
                </c:pt>
                <c:pt idx="61">
                  <c:v>1180.826</c:v>
                </c:pt>
                <c:pt idx="62">
                  <c:v>958.27300000000002</c:v>
                </c:pt>
                <c:pt idx="63">
                  <c:v>764.36300000000006</c:v>
                </c:pt>
                <c:pt idx="64">
                  <c:v>631.58699999999999</c:v>
                </c:pt>
                <c:pt idx="65">
                  <c:v>424.28</c:v>
                </c:pt>
                <c:pt idx="66">
                  <c:v>625.678</c:v>
                </c:pt>
                <c:pt idx="67">
                  <c:v>827.20399999999995</c:v>
                </c:pt>
                <c:pt idx="68">
                  <c:v>1143.6569999999999</c:v>
                </c:pt>
                <c:pt idx="69">
                  <c:v>1824.2280000000001</c:v>
                </c:pt>
                <c:pt idx="70">
                  <c:v>1889.7829999999999</c:v>
                </c:pt>
                <c:pt idx="71">
                  <c:v>1685.742</c:v>
                </c:pt>
                <c:pt idx="72">
                  <c:v>2055.6379999999999</c:v>
                </c:pt>
                <c:pt idx="73">
                  <c:v>2150.2809999999999</c:v>
                </c:pt>
                <c:pt idx="74">
                  <c:v>2874.192</c:v>
                </c:pt>
                <c:pt idx="75">
                  <c:v>3284.5160000000001</c:v>
                </c:pt>
                <c:pt idx="76">
                  <c:v>3163.44</c:v>
                </c:pt>
                <c:pt idx="77">
                  <c:v>3060.0160000000001</c:v>
                </c:pt>
                <c:pt idx="78">
                  <c:v>2860.06</c:v>
                </c:pt>
                <c:pt idx="79">
                  <c:v>2940.1179999999999</c:v>
                </c:pt>
                <c:pt idx="80">
                  <c:v>3171.3130000000001</c:v>
                </c:pt>
                <c:pt idx="81">
                  <c:v>3270.3969999999999</c:v>
                </c:pt>
                <c:pt idx="82">
                  <c:v>3211.308</c:v>
                </c:pt>
                <c:pt idx="83">
                  <c:v>3204.6709999999998</c:v>
                </c:pt>
                <c:pt idx="84">
                  <c:v>3235.8939999999998</c:v>
                </c:pt>
                <c:pt idx="85">
                  <c:v>3287.3310000000001</c:v>
                </c:pt>
                <c:pt idx="86">
                  <c:v>3309.8580000000002</c:v>
                </c:pt>
                <c:pt idx="87">
                  <c:v>3223.098</c:v>
                </c:pt>
                <c:pt idx="88">
                  <c:v>3006.8870000000002</c:v>
                </c:pt>
                <c:pt idx="89">
                  <c:v>2659.5639999999999</c:v>
                </c:pt>
                <c:pt idx="90">
                  <c:v>2592.75</c:v>
                </c:pt>
                <c:pt idx="91">
                  <c:v>2344.2809999999999</c:v>
                </c:pt>
                <c:pt idx="92">
                  <c:v>1775.722</c:v>
                </c:pt>
                <c:pt idx="93">
                  <c:v>1570.816</c:v>
                </c:pt>
                <c:pt idx="94">
                  <c:v>1436.942</c:v>
                </c:pt>
                <c:pt idx="95">
                  <c:v>1284.98</c:v>
                </c:pt>
                <c:pt idx="96">
                  <c:v>1181.2349999999999</c:v>
                </c:pt>
                <c:pt idx="97">
                  <c:v>1194.3969999999999</c:v>
                </c:pt>
                <c:pt idx="98">
                  <c:v>1205.9839999999999</c:v>
                </c:pt>
                <c:pt idx="99">
                  <c:v>1019.899</c:v>
                </c:pt>
                <c:pt idx="100">
                  <c:v>828.21799999999996</c:v>
                </c:pt>
                <c:pt idx="101">
                  <c:v>804.82299999999998</c:v>
                </c:pt>
                <c:pt idx="102">
                  <c:v>617.16899999999998</c:v>
                </c:pt>
                <c:pt idx="103">
                  <c:v>385.089</c:v>
                </c:pt>
                <c:pt idx="104">
                  <c:v>188.90100000000001</c:v>
                </c:pt>
                <c:pt idx="105">
                  <c:v>209.304</c:v>
                </c:pt>
                <c:pt idx="106">
                  <c:v>320.88799999999998</c:v>
                </c:pt>
                <c:pt idx="107">
                  <c:v>397.90100000000001</c:v>
                </c:pt>
                <c:pt idx="108">
                  <c:v>368.40600000000001</c:v>
                </c:pt>
                <c:pt idx="109">
                  <c:v>524.17700000000002</c:v>
                </c:pt>
                <c:pt idx="110">
                  <c:v>772.94799999999998</c:v>
                </c:pt>
                <c:pt idx="111">
                  <c:v>1192.9079999999999</c:v>
                </c:pt>
                <c:pt idx="112">
                  <c:v>1537.499</c:v>
                </c:pt>
                <c:pt idx="113">
                  <c:v>1993.1130000000001</c:v>
                </c:pt>
                <c:pt idx="114">
                  <c:v>2345.8069999999998</c:v>
                </c:pt>
                <c:pt idx="115">
                  <c:v>2600.3420000000001</c:v>
                </c:pt>
                <c:pt idx="116">
                  <c:v>2827.7370000000001</c:v>
                </c:pt>
                <c:pt idx="117">
                  <c:v>3120.0590000000002</c:v>
                </c:pt>
                <c:pt idx="118">
                  <c:v>3267.49</c:v>
                </c:pt>
                <c:pt idx="119">
                  <c:v>3358.163</c:v>
                </c:pt>
                <c:pt idx="120">
                  <c:v>3436.0450000000001</c:v>
                </c:pt>
                <c:pt idx="121">
                  <c:v>3412.0509999999999</c:v>
                </c:pt>
                <c:pt idx="122">
                  <c:v>3390.99</c:v>
                </c:pt>
                <c:pt idx="123">
                  <c:v>3314.049</c:v>
                </c:pt>
                <c:pt idx="124">
                  <c:v>3250.1419999999998</c:v>
                </c:pt>
                <c:pt idx="125">
                  <c:v>3195.1550000000002</c:v>
                </c:pt>
                <c:pt idx="126">
                  <c:v>3114.9</c:v>
                </c:pt>
                <c:pt idx="127">
                  <c:v>2999.0819999999999</c:v>
                </c:pt>
                <c:pt idx="128">
                  <c:v>2615.0120000000002</c:v>
                </c:pt>
                <c:pt idx="129">
                  <c:v>2316.0940000000001</c:v>
                </c:pt>
                <c:pt idx="130">
                  <c:v>2129.0859999999998</c:v>
                </c:pt>
                <c:pt idx="131">
                  <c:v>1846.0940000000001</c:v>
                </c:pt>
                <c:pt idx="132">
                  <c:v>1339.01</c:v>
                </c:pt>
                <c:pt idx="133">
                  <c:v>970.11599999999999</c:v>
                </c:pt>
                <c:pt idx="134">
                  <c:v>884.03300000000002</c:v>
                </c:pt>
                <c:pt idx="135">
                  <c:v>950.01499999999999</c:v>
                </c:pt>
                <c:pt idx="136">
                  <c:v>882.19799999999998</c:v>
                </c:pt>
                <c:pt idx="137">
                  <c:v>623.12</c:v>
                </c:pt>
                <c:pt idx="138">
                  <c:v>398.85899999999998</c:v>
                </c:pt>
                <c:pt idx="139">
                  <c:v>338</c:v>
                </c:pt>
                <c:pt idx="140">
                  <c:v>592</c:v>
                </c:pt>
                <c:pt idx="141">
                  <c:v>1092.8989999999999</c:v>
                </c:pt>
                <c:pt idx="142">
                  <c:v>1717.155</c:v>
                </c:pt>
                <c:pt idx="143">
                  <c:v>1826.364</c:v>
                </c:pt>
                <c:pt idx="144">
                  <c:v>1899.2049999999999</c:v>
                </c:pt>
                <c:pt idx="145">
                  <c:v>1890.268</c:v>
                </c:pt>
                <c:pt idx="146">
                  <c:v>1834.5540000000001</c:v>
                </c:pt>
                <c:pt idx="147">
                  <c:v>1689.69</c:v>
                </c:pt>
                <c:pt idx="148">
                  <c:v>1438.914</c:v>
                </c:pt>
                <c:pt idx="149">
                  <c:v>1185.664</c:v>
                </c:pt>
                <c:pt idx="150">
                  <c:v>1348.85</c:v>
                </c:pt>
                <c:pt idx="151">
                  <c:v>1386.356</c:v>
                </c:pt>
                <c:pt idx="152">
                  <c:v>1256.068</c:v>
                </c:pt>
                <c:pt idx="153">
                  <c:v>1032.7449999999999</c:v>
                </c:pt>
                <c:pt idx="154">
                  <c:v>1191.3869999999999</c:v>
                </c:pt>
                <c:pt idx="155">
                  <c:v>1498.8019999999999</c:v>
                </c:pt>
                <c:pt idx="156">
                  <c:v>1506.9760000000001</c:v>
                </c:pt>
                <c:pt idx="157">
                  <c:v>2250.8490000000002</c:v>
                </c:pt>
                <c:pt idx="158">
                  <c:v>3082.8389999999999</c:v>
                </c:pt>
                <c:pt idx="159">
                  <c:v>3209.3110000000001</c:v>
                </c:pt>
                <c:pt idx="160">
                  <c:v>3294.0819999999999</c:v>
                </c:pt>
                <c:pt idx="161">
                  <c:v>3335.527</c:v>
                </c:pt>
                <c:pt idx="162">
                  <c:v>3237.366</c:v>
                </c:pt>
                <c:pt idx="163">
                  <c:v>3418.7710000000002</c:v>
                </c:pt>
                <c:pt idx="164">
                  <c:v>3485.357</c:v>
                </c:pt>
                <c:pt idx="165">
                  <c:v>3391.5540000000001</c:v>
                </c:pt>
                <c:pt idx="166">
                  <c:v>3152.1970000000001</c:v>
                </c:pt>
                <c:pt idx="167" formatCode="_(* #,##0_);_(* \(#,##0\);_(* &quot;-&quot;??_);_(@_)">
                  <c:v>2764.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15-4A4A-B116-48867BB5BB2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8615-4A4A-B116-48867BB5BB2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4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02272024"/>
        <c:axId val="50227359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615-4A4A-B116-48867BB5BB2F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H$2:$H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2272024"/>
        <c:axId val="502273592"/>
      </c:lineChart>
      <c:catAx>
        <c:axId val="502272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2273592"/>
        <c:crosses val="autoZero"/>
        <c:auto val="1"/>
        <c:lblAlgn val="ctr"/>
        <c:lblOffset val="100"/>
        <c:noMultiLvlLbl val="0"/>
      </c:catAx>
      <c:valAx>
        <c:axId val="502273592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02272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3"/>
        <c:delete val="1"/>
      </c:legendEntry>
      <c:legendEntry>
        <c:idx val="4"/>
        <c:delete val="1"/>
      </c:legendEntry>
      <c:legendEntry>
        <c:idx val="6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CJC Targets Hourly MW for April Week</a:t>
            </a:r>
          </a:p>
        </c:rich>
      </c:tx>
      <c:layout>
        <c:manualLayout>
          <c:xMode val="edge"/>
          <c:yMode val="edge"/>
          <c:x val="0.1594028424299774"/>
          <c:y val="2.21929374471525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3455383705208"/>
          <c:y val="0.19998545226738207"/>
          <c:w val="0.82639774474876027"/>
          <c:h val="0.633885120531022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2</c:v>
                </c:pt>
                <c:pt idx="2">
                  <c:v>7345</c:v>
                </c:pt>
                <c:pt idx="3">
                  <c:v>7343</c:v>
                </c:pt>
                <c:pt idx="4">
                  <c:v>7342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</c:v>
                </c:pt>
                <c:pt idx="9">
                  <c:v>7350</c:v>
                </c:pt>
                <c:pt idx="10">
                  <c:v>7352</c:v>
                </c:pt>
                <c:pt idx="11">
                  <c:v>7342</c:v>
                </c:pt>
                <c:pt idx="12">
                  <c:v>7346</c:v>
                </c:pt>
                <c:pt idx="13">
                  <c:v>7348</c:v>
                </c:pt>
                <c:pt idx="14">
                  <c:v>7346</c:v>
                </c:pt>
                <c:pt idx="15">
                  <c:v>7345</c:v>
                </c:pt>
                <c:pt idx="16">
                  <c:v>7346</c:v>
                </c:pt>
                <c:pt idx="17">
                  <c:v>7339</c:v>
                </c:pt>
                <c:pt idx="18">
                  <c:v>7344</c:v>
                </c:pt>
                <c:pt idx="19">
                  <c:v>7341</c:v>
                </c:pt>
                <c:pt idx="20">
                  <c:v>7345</c:v>
                </c:pt>
                <c:pt idx="21">
                  <c:v>7339</c:v>
                </c:pt>
                <c:pt idx="22">
                  <c:v>7344</c:v>
                </c:pt>
                <c:pt idx="23">
                  <c:v>7337</c:v>
                </c:pt>
                <c:pt idx="24">
                  <c:v>7343</c:v>
                </c:pt>
                <c:pt idx="25">
                  <c:v>7337</c:v>
                </c:pt>
                <c:pt idx="26">
                  <c:v>7350</c:v>
                </c:pt>
                <c:pt idx="27">
                  <c:v>7345</c:v>
                </c:pt>
                <c:pt idx="28">
                  <c:v>7345</c:v>
                </c:pt>
                <c:pt idx="29">
                  <c:v>7343</c:v>
                </c:pt>
                <c:pt idx="30">
                  <c:v>7344</c:v>
                </c:pt>
                <c:pt idx="31">
                  <c:v>7348</c:v>
                </c:pt>
                <c:pt idx="32">
                  <c:v>7347</c:v>
                </c:pt>
                <c:pt idx="33">
                  <c:v>7346</c:v>
                </c:pt>
                <c:pt idx="34">
                  <c:v>7350</c:v>
                </c:pt>
                <c:pt idx="35">
                  <c:v>7345</c:v>
                </c:pt>
                <c:pt idx="36">
                  <c:v>7348</c:v>
                </c:pt>
                <c:pt idx="37">
                  <c:v>7347</c:v>
                </c:pt>
                <c:pt idx="38">
                  <c:v>7350</c:v>
                </c:pt>
                <c:pt idx="39">
                  <c:v>7348</c:v>
                </c:pt>
                <c:pt idx="40">
                  <c:v>7349</c:v>
                </c:pt>
                <c:pt idx="41">
                  <c:v>7351</c:v>
                </c:pt>
                <c:pt idx="42">
                  <c:v>7344</c:v>
                </c:pt>
                <c:pt idx="43">
                  <c:v>7352</c:v>
                </c:pt>
                <c:pt idx="44">
                  <c:v>7351</c:v>
                </c:pt>
                <c:pt idx="45">
                  <c:v>7352</c:v>
                </c:pt>
                <c:pt idx="46">
                  <c:v>7352</c:v>
                </c:pt>
                <c:pt idx="47">
                  <c:v>7355</c:v>
                </c:pt>
                <c:pt idx="48">
                  <c:v>7350</c:v>
                </c:pt>
                <c:pt idx="49">
                  <c:v>7354</c:v>
                </c:pt>
                <c:pt idx="50">
                  <c:v>7349</c:v>
                </c:pt>
                <c:pt idx="51">
                  <c:v>7359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6</c:v>
                </c:pt>
                <c:pt idx="57">
                  <c:v>7358</c:v>
                </c:pt>
                <c:pt idx="58">
                  <c:v>7353</c:v>
                </c:pt>
                <c:pt idx="59">
                  <c:v>7360</c:v>
                </c:pt>
                <c:pt idx="60">
                  <c:v>7356</c:v>
                </c:pt>
                <c:pt idx="61">
                  <c:v>7350</c:v>
                </c:pt>
                <c:pt idx="62">
                  <c:v>7350</c:v>
                </c:pt>
                <c:pt idx="63">
                  <c:v>7356</c:v>
                </c:pt>
                <c:pt idx="64">
                  <c:v>7348</c:v>
                </c:pt>
                <c:pt idx="65">
                  <c:v>7353</c:v>
                </c:pt>
                <c:pt idx="66">
                  <c:v>7351</c:v>
                </c:pt>
                <c:pt idx="67">
                  <c:v>7350</c:v>
                </c:pt>
                <c:pt idx="68">
                  <c:v>7354</c:v>
                </c:pt>
                <c:pt idx="69">
                  <c:v>7356</c:v>
                </c:pt>
                <c:pt idx="70">
                  <c:v>7351</c:v>
                </c:pt>
                <c:pt idx="71">
                  <c:v>7356</c:v>
                </c:pt>
                <c:pt idx="72">
                  <c:v>7357</c:v>
                </c:pt>
                <c:pt idx="73">
                  <c:v>7354</c:v>
                </c:pt>
                <c:pt idx="74">
                  <c:v>7352</c:v>
                </c:pt>
                <c:pt idx="75">
                  <c:v>7353</c:v>
                </c:pt>
                <c:pt idx="76">
                  <c:v>7360</c:v>
                </c:pt>
                <c:pt idx="77">
                  <c:v>7354</c:v>
                </c:pt>
                <c:pt idx="78">
                  <c:v>7361</c:v>
                </c:pt>
                <c:pt idx="79">
                  <c:v>7354</c:v>
                </c:pt>
                <c:pt idx="80">
                  <c:v>7357</c:v>
                </c:pt>
                <c:pt idx="81">
                  <c:v>7351</c:v>
                </c:pt>
                <c:pt idx="82">
                  <c:v>7358</c:v>
                </c:pt>
                <c:pt idx="83">
                  <c:v>7350</c:v>
                </c:pt>
                <c:pt idx="84">
                  <c:v>7362</c:v>
                </c:pt>
                <c:pt idx="85">
                  <c:v>7358</c:v>
                </c:pt>
                <c:pt idx="86">
                  <c:v>7353</c:v>
                </c:pt>
                <c:pt idx="87">
                  <c:v>7354</c:v>
                </c:pt>
                <c:pt idx="88">
                  <c:v>7360</c:v>
                </c:pt>
                <c:pt idx="89">
                  <c:v>7360</c:v>
                </c:pt>
                <c:pt idx="90">
                  <c:v>7361</c:v>
                </c:pt>
                <c:pt idx="91">
                  <c:v>7356</c:v>
                </c:pt>
                <c:pt idx="92">
                  <c:v>7358</c:v>
                </c:pt>
                <c:pt idx="93">
                  <c:v>7360</c:v>
                </c:pt>
                <c:pt idx="94">
                  <c:v>7357</c:v>
                </c:pt>
                <c:pt idx="95">
                  <c:v>7357</c:v>
                </c:pt>
                <c:pt idx="96">
                  <c:v>7362</c:v>
                </c:pt>
                <c:pt idx="97">
                  <c:v>7358</c:v>
                </c:pt>
                <c:pt idx="98">
                  <c:v>7358</c:v>
                </c:pt>
                <c:pt idx="99">
                  <c:v>7357</c:v>
                </c:pt>
                <c:pt idx="100">
                  <c:v>7356</c:v>
                </c:pt>
                <c:pt idx="101">
                  <c:v>7359</c:v>
                </c:pt>
                <c:pt idx="102">
                  <c:v>7361</c:v>
                </c:pt>
                <c:pt idx="103">
                  <c:v>7358</c:v>
                </c:pt>
                <c:pt idx="104">
                  <c:v>7356</c:v>
                </c:pt>
                <c:pt idx="105">
                  <c:v>7362</c:v>
                </c:pt>
                <c:pt idx="106">
                  <c:v>7361</c:v>
                </c:pt>
                <c:pt idx="107">
                  <c:v>7356</c:v>
                </c:pt>
                <c:pt idx="108">
                  <c:v>7350</c:v>
                </c:pt>
                <c:pt idx="109">
                  <c:v>7357</c:v>
                </c:pt>
                <c:pt idx="110">
                  <c:v>7355</c:v>
                </c:pt>
                <c:pt idx="111">
                  <c:v>7352</c:v>
                </c:pt>
                <c:pt idx="112">
                  <c:v>7354</c:v>
                </c:pt>
                <c:pt idx="113">
                  <c:v>7352</c:v>
                </c:pt>
                <c:pt idx="114">
                  <c:v>7356</c:v>
                </c:pt>
                <c:pt idx="115">
                  <c:v>7356</c:v>
                </c:pt>
                <c:pt idx="116">
                  <c:v>7348</c:v>
                </c:pt>
                <c:pt idx="117">
                  <c:v>7356</c:v>
                </c:pt>
                <c:pt idx="118">
                  <c:v>7344</c:v>
                </c:pt>
                <c:pt idx="119">
                  <c:v>7355</c:v>
                </c:pt>
                <c:pt idx="120">
                  <c:v>7352</c:v>
                </c:pt>
                <c:pt idx="121">
                  <c:v>7353</c:v>
                </c:pt>
                <c:pt idx="122">
                  <c:v>7351</c:v>
                </c:pt>
                <c:pt idx="123">
                  <c:v>7353</c:v>
                </c:pt>
                <c:pt idx="124">
                  <c:v>7352</c:v>
                </c:pt>
                <c:pt idx="125">
                  <c:v>7354</c:v>
                </c:pt>
                <c:pt idx="126">
                  <c:v>7350</c:v>
                </c:pt>
                <c:pt idx="127">
                  <c:v>7352</c:v>
                </c:pt>
                <c:pt idx="128">
                  <c:v>7346</c:v>
                </c:pt>
                <c:pt idx="129">
                  <c:v>7347</c:v>
                </c:pt>
                <c:pt idx="130">
                  <c:v>7344</c:v>
                </c:pt>
                <c:pt idx="131">
                  <c:v>7343</c:v>
                </c:pt>
                <c:pt idx="132">
                  <c:v>7339</c:v>
                </c:pt>
                <c:pt idx="133">
                  <c:v>7339</c:v>
                </c:pt>
                <c:pt idx="134">
                  <c:v>7339</c:v>
                </c:pt>
                <c:pt idx="135">
                  <c:v>7337</c:v>
                </c:pt>
                <c:pt idx="136">
                  <c:v>7332</c:v>
                </c:pt>
                <c:pt idx="137">
                  <c:v>7334</c:v>
                </c:pt>
                <c:pt idx="138">
                  <c:v>7337</c:v>
                </c:pt>
                <c:pt idx="139">
                  <c:v>7339</c:v>
                </c:pt>
                <c:pt idx="140">
                  <c:v>7343</c:v>
                </c:pt>
                <c:pt idx="141">
                  <c:v>7340</c:v>
                </c:pt>
                <c:pt idx="142">
                  <c:v>7340</c:v>
                </c:pt>
                <c:pt idx="143">
                  <c:v>7344</c:v>
                </c:pt>
                <c:pt idx="144">
                  <c:v>7348</c:v>
                </c:pt>
                <c:pt idx="145">
                  <c:v>7349</c:v>
                </c:pt>
                <c:pt idx="146">
                  <c:v>7341</c:v>
                </c:pt>
                <c:pt idx="147">
                  <c:v>7341</c:v>
                </c:pt>
                <c:pt idx="148">
                  <c:v>7345</c:v>
                </c:pt>
                <c:pt idx="149">
                  <c:v>7344</c:v>
                </c:pt>
                <c:pt idx="150">
                  <c:v>7340</c:v>
                </c:pt>
                <c:pt idx="151">
                  <c:v>7338</c:v>
                </c:pt>
                <c:pt idx="152">
                  <c:v>7340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</c:v>
                </c:pt>
                <c:pt idx="157">
                  <c:v>7327</c:v>
                </c:pt>
                <c:pt idx="158">
                  <c:v>7326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</c:v>
                </c:pt>
                <c:pt idx="164">
                  <c:v>7320</c:v>
                </c:pt>
                <c:pt idx="165">
                  <c:v>7316</c:v>
                </c:pt>
                <c:pt idx="166">
                  <c:v>7321</c:v>
                </c:pt>
                <c:pt idx="167">
                  <c:v>7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15-4A4A-B116-48867BB5BB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 formatCode="_(* #,##0_);_(* \(#,##0\);_(* &quot;-&quot;??_);_(@_)">
                  <c:v>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15-4A4A-B116-48867BB5BB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D$2:$D$169</c:f>
              <c:numCache>
                <c:formatCode>#,##0</c:formatCode>
                <c:ptCount val="168"/>
                <c:pt idx="0">
                  <c:v>3295.59</c:v>
                </c:pt>
                <c:pt idx="1">
                  <c:v>3299.1970000000001</c:v>
                </c:pt>
                <c:pt idx="2">
                  <c:v>3273.0219999999999</c:v>
                </c:pt>
                <c:pt idx="3">
                  <c:v>3279.9009999999998</c:v>
                </c:pt>
                <c:pt idx="4">
                  <c:v>3290.9090000000001</c:v>
                </c:pt>
                <c:pt idx="5">
                  <c:v>3333.3249999999998</c:v>
                </c:pt>
                <c:pt idx="6">
                  <c:v>3369.96</c:v>
                </c:pt>
                <c:pt idx="7">
                  <c:v>3392.1959999999999</c:v>
                </c:pt>
                <c:pt idx="8">
                  <c:v>3419.6660000000002</c:v>
                </c:pt>
                <c:pt idx="9">
                  <c:v>3287.6619999999998</c:v>
                </c:pt>
                <c:pt idx="10">
                  <c:v>3143.4470000000001</c:v>
                </c:pt>
                <c:pt idx="11">
                  <c:v>3060.3270000000002</c:v>
                </c:pt>
                <c:pt idx="12">
                  <c:v>3059.0639999999999</c:v>
                </c:pt>
                <c:pt idx="13">
                  <c:v>2846.788</c:v>
                </c:pt>
                <c:pt idx="14">
                  <c:v>2665.79</c:v>
                </c:pt>
                <c:pt idx="15">
                  <c:v>2777.2280000000001</c:v>
                </c:pt>
                <c:pt idx="16">
                  <c:v>2798.4450000000002</c:v>
                </c:pt>
                <c:pt idx="17">
                  <c:v>2786.9690000000001</c:v>
                </c:pt>
                <c:pt idx="18">
                  <c:v>2826.25</c:v>
                </c:pt>
                <c:pt idx="19">
                  <c:v>2694.68</c:v>
                </c:pt>
                <c:pt idx="20">
                  <c:v>2872.0909999999999</c:v>
                </c:pt>
                <c:pt idx="21">
                  <c:v>3058.3809999999999</c:v>
                </c:pt>
                <c:pt idx="22">
                  <c:v>3009.2440000000001</c:v>
                </c:pt>
                <c:pt idx="23">
                  <c:v>2656.7159999999999</c:v>
                </c:pt>
                <c:pt idx="24">
                  <c:v>2227.6060000000002</c:v>
                </c:pt>
                <c:pt idx="25">
                  <c:v>2436.1779999999999</c:v>
                </c:pt>
                <c:pt idx="26">
                  <c:v>2638.07</c:v>
                </c:pt>
                <c:pt idx="27">
                  <c:v>2268.5630000000001</c:v>
                </c:pt>
                <c:pt idx="28">
                  <c:v>2399.9009999999998</c:v>
                </c:pt>
                <c:pt idx="29">
                  <c:v>2673.8150000000001</c:v>
                </c:pt>
                <c:pt idx="30">
                  <c:v>2920.3319999999999</c:v>
                </c:pt>
                <c:pt idx="31">
                  <c:v>3122.8359999999998</c:v>
                </c:pt>
                <c:pt idx="32">
                  <c:v>3439.1860000000001</c:v>
                </c:pt>
                <c:pt idx="33">
                  <c:v>3500.2669999999998</c:v>
                </c:pt>
                <c:pt idx="34">
                  <c:v>3523.9259999999999</c:v>
                </c:pt>
                <c:pt idx="35">
                  <c:v>3522.4920000000002</c:v>
                </c:pt>
                <c:pt idx="36">
                  <c:v>3530.4360000000001</c:v>
                </c:pt>
                <c:pt idx="37">
                  <c:v>3515.0889999999999</c:v>
                </c:pt>
                <c:pt idx="38">
                  <c:v>3514.5149999999999</c:v>
                </c:pt>
                <c:pt idx="39">
                  <c:v>3515.9580000000001</c:v>
                </c:pt>
                <c:pt idx="40">
                  <c:v>3524.42</c:v>
                </c:pt>
                <c:pt idx="41">
                  <c:v>3503.4830000000002</c:v>
                </c:pt>
                <c:pt idx="42">
                  <c:v>3397.9209999999998</c:v>
                </c:pt>
                <c:pt idx="43">
                  <c:v>2758.24</c:v>
                </c:pt>
                <c:pt idx="44">
                  <c:v>2031.307</c:v>
                </c:pt>
                <c:pt idx="45">
                  <c:v>1866.107</c:v>
                </c:pt>
                <c:pt idx="46">
                  <c:v>1490.28</c:v>
                </c:pt>
                <c:pt idx="47">
                  <c:v>1363.8589999999999</c:v>
                </c:pt>
                <c:pt idx="48">
                  <c:v>1349.865</c:v>
                </c:pt>
                <c:pt idx="49">
                  <c:v>1457.5820000000001</c:v>
                </c:pt>
                <c:pt idx="50">
                  <c:v>1678.4839999999999</c:v>
                </c:pt>
                <c:pt idx="51">
                  <c:v>1919.296</c:v>
                </c:pt>
                <c:pt idx="52">
                  <c:v>1745.2840000000001</c:v>
                </c:pt>
                <c:pt idx="53">
                  <c:v>1556.327</c:v>
                </c:pt>
                <c:pt idx="54">
                  <c:v>1450.8520000000001</c:v>
                </c:pt>
                <c:pt idx="55">
                  <c:v>1167.3230000000001</c:v>
                </c:pt>
                <c:pt idx="56">
                  <c:v>869.78499999999997</c:v>
                </c:pt>
                <c:pt idx="57">
                  <c:v>1161.558</c:v>
                </c:pt>
                <c:pt idx="58">
                  <c:v>1026.712</c:v>
                </c:pt>
                <c:pt idx="59">
                  <c:v>955.81399999999996</c:v>
                </c:pt>
                <c:pt idx="60">
                  <c:v>1159.3240000000001</c:v>
                </c:pt>
                <c:pt idx="61">
                  <c:v>1180.826</c:v>
                </c:pt>
                <c:pt idx="62">
                  <c:v>958.27300000000002</c:v>
                </c:pt>
                <c:pt idx="63">
                  <c:v>764.36300000000006</c:v>
                </c:pt>
                <c:pt idx="64">
                  <c:v>631.58699999999999</c:v>
                </c:pt>
                <c:pt idx="65">
                  <c:v>424.28</c:v>
                </c:pt>
                <c:pt idx="66">
                  <c:v>625.678</c:v>
                </c:pt>
                <c:pt idx="67">
                  <c:v>827.20399999999995</c:v>
                </c:pt>
                <c:pt idx="68">
                  <c:v>1143.6569999999999</c:v>
                </c:pt>
                <c:pt idx="69">
                  <c:v>1824.2280000000001</c:v>
                </c:pt>
                <c:pt idx="70">
                  <c:v>1889.7829999999999</c:v>
                </c:pt>
                <c:pt idx="71">
                  <c:v>1685.742</c:v>
                </c:pt>
                <c:pt idx="72">
                  <c:v>2055.6379999999999</c:v>
                </c:pt>
                <c:pt idx="73">
                  <c:v>2150.2809999999999</c:v>
                </c:pt>
                <c:pt idx="74">
                  <c:v>2874.192</c:v>
                </c:pt>
                <c:pt idx="75">
                  <c:v>3284.5160000000001</c:v>
                </c:pt>
                <c:pt idx="76">
                  <c:v>3163.44</c:v>
                </c:pt>
                <c:pt idx="77">
                  <c:v>3060.0160000000001</c:v>
                </c:pt>
                <c:pt idx="78">
                  <c:v>2860.06</c:v>
                </c:pt>
                <c:pt idx="79">
                  <c:v>2940.1179999999999</c:v>
                </c:pt>
                <c:pt idx="80">
                  <c:v>3171.3130000000001</c:v>
                </c:pt>
                <c:pt idx="81">
                  <c:v>3270.3969999999999</c:v>
                </c:pt>
                <c:pt idx="82">
                  <c:v>3211.308</c:v>
                </c:pt>
                <c:pt idx="83">
                  <c:v>3204.6709999999998</c:v>
                </c:pt>
                <c:pt idx="84">
                  <c:v>3235.8939999999998</c:v>
                </c:pt>
                <c:pt idx="85">
                  <c:v>3287.3310000000001</c:v>
                </c:pt>
                <c:pt idx="86">
                  <c:v>3309.8580000000002</c:v>
                </c:pt>
                <c:pt idx="87">
                  <c:v>3223.098</c:v>
                </c:pt>
                <c:pt idx="88">
                  <c:v>3006.8870000000002</c:v>
                </c:pt>
                <c:pt idx="89">
                  <c:v>2659.5639999999999</c:v>
                </c:pt>
                <c:pt idx="90">
                  <c:v>2592.75</c:v>
                </c:pt>
                <c:pt idx="91">
                  <c:v>2344.2809999999999</c:v>
                </c:pt>
                <c:pt idx="92">
                  <c:v>1775.722</c:v>
                </c:pt>
                <c:pt idx="93">
                  <c:v>1570.816</c:v>
                </c:pt>
                <c:pt idx="94">
                  <c:v>1436.942</c:v>
                </c:pt>
                <c:pt idx="95">
                  <c:v>1284.98</c:v>
                </c:pt>
                <c:pt idx="96">
                  <c:v>1181.2349999999999</c:v>
                </c:pt>
                <c:pt idx="97">
                  <c:v>1194.3969999999999</c:v>
                </c:pt>
                <c:pt idx="98">
                  <c:v>1205.9839999999999</c:v>
                </c:pt>
                <c:pt idx="99">
                  <c:v>1019.899</c:v>
                </c:pt>
                <c:pt idx="100">
                  <c:v>828.21799999999996</c:v>
                </c:pt>
                <c:pt idx="101">
                  <c:v>804.82299999999998</c:v>
                </c:pt>
                <c:pt idx="102">
                  <c:v>617.16899999999998</c:v>
                </c:pt>
                <c:pt idx="103">
                  <c:v>385.089</c:v>
                </c:pt>
                <c:pt idx="104">
                  <c:v>188.90100000000001</c:v>
                </c:pt>
                <c:pt idx="105">
                  <c:v>209.304</c:v>
                </c:pt>
                <c:pt idx="106">
                  <c:v>320.88799999999998</c:v>
                </c:pt>
                <c:pt idx="107">
                  <c:v>397.90100000000001</c:v>
                </c:pt>
                <c:pt idx="108">
                  <c:v>368.40600000000001</c:v>
                </c:pt>
                <c:pt idx="109">
                  <c:v>524.17700000000002</c:v>
                </c:pt>
                <c:pt idx="110">
                  <c:v>772.94799999999998</c:v>
                </c:pt>
                <c:pt idx="111">
                  <c:v>1192.9079999999999</c:v>
                </c:pt>
                <c:pt idx="112">
                  <c:v>1537.499</c:v>
                </c:pt>
                <c:pt idx="113">
                  <c:v>1993.1130000000001</c:v>
                </c:pt>
                <c:pt idx="114">
                  <c:v>2345.8069999999998</c:v>
                </c:pt>
                <c:pt idx="115">
                  <c:v>2600.3420000000001</c:v>
                </c:pt>
                <c:pt idx="116">
                  <c:v>2827.7370000000001</c:v>
                </c:pt>
                <c:pt idx="117">
                  <c:v>3120.0590000000002</c:v>
                </c:pt>
                <c:pt idx="118">
                  <c:v>3267.49</c:v>
                </c:pt>
                <c:pt idx="119">
                  <c:v>3358.163</c:v>
                </c:pt>
                <c:pt idx="120">
                  <c:v>3436.0450000000001</c:v>
                </c:pt>
                <c:pt idx="121">
                  <c:v>3412.0509999999999</c:v>
                </c:pt>
                <c:pt idx="122">
                  <c:v>3390.99</c:v>
                </c:pt>
                <c:pt idx="123">
                  <c:v>3314.049</c:v>
                </c:pt>
                <c:pt idx="124">
                  <c:v>3250.1419999999998</c:v>
                </c:pt>
                <c:pt idx="125">
                  <c:v>3195.1550000000002</c:v>
                </c:pt>
                <c:pt idx="126">
                  <c:v>3114.9</c:v>
                </c:pt>
                <c:pt idx="127">
                  <c:v>2999.0819999999999</c:v>
                </c:pt>
                <c:pt idx="128">
                  <c:v>2615.0120000000002</c:v>
                </c:pt>
                <c:pt idx="129">
                  <c:v>2316.0940000000001</c:v>
                </c:pt>
                <c:pt idx="130">
                  <c:v>2129.0859999999998</c:v>
                </c:pt>
                <c:pt idx="131">
                  <c:v>1846.0940000000001</c:v>
                </c:pt>
                <c:pt idx="132">
                  <c:v>1339.01</c:v>
                </c:pt>
                <c:pt idx="133">
                  <c:v>970.11599999999999</c:v>
                </c:pt>
                <c:pt idx="134">
                  <c:v>884.03300000000002</c:v>
                </c:pt>
                <c:pt idx="135">
                  <c:v>950.01499999999999</c:v>
                </c:pt>
                <c:pt idx="136">
                  <c:v>882.19799999999998</c:v>
                </c:pt>
                <c:pt idx="137">
                  <c:v>623.12</c:v>
                </c:pt>
                <c:pt idx="138">
                  <c:v>398.85899999999998</c:v>
                </c:pt>
                <c:pt idx="139">
                  <c:v>338</c:v>
                </c:pt>
                <c:pt idx="140">
                  <c:v>592</c:v>
                </c:pt>
                <c:pt idx="141">
                  <c:v>1092.8989999999999</c:v>
                </c:pt>
                <c:pt idx="142">
                  <c:v>1717.155</c:v>
                </c:pt>
                <c:pt idx="143">
                  <c:v>1826.364</c:v>
                </c:pt>
                <c:pt idx="144">
                  <c:v>1899.2049999999999</c:v>
                </c:pt>
                <c:pt idx="145">
                  <c:v>1890.268</c:v>
                </c:pt>
                <c:pt idx="146">
                  <c:v>1834.5540000000001</c:v>
                </c:pt>
                <c:pt idx="147">
                  <c:v>1689.69</c:v>
                </c:pt>
                <c:pt idx="148">
                  <c:v>1438.914</c:v>
                </c:pt>
                <c:pt idx="149">
                  <c:v>1185.664</c:v>
                </c:pt>
                <c:pt idx="150">
                  <c:v>1348.85</c:v>
                </c:pt>
                <c:pt idx="151">
                  <c:v>1386.356</c:v>
                </c:pt>
                <c:pt idx="152">
                  <c:v>1256.068</c:v>
                </c:pt>
                <c:pt idx="153">
                  <c:v>1032.7449999999999</c:v>
                </c:pt>
                <c:pt idx="154">
                  <c:v>1191.3869999999999</c:v>
                </c:pt>
                <c:pt idx="155">
                  <c:v>1498.8019999999999</c:v>
                </c:pt>
                <c:pt idx="156">
                  <c:v>1506.9760000000001</c:v>
                </c:pt>
                <c:pt idx="157">
                  <c:v>2250.8490000000002</c:v>
                </c:pt>
                <c:pt idx="158">
                  <c:v>3082.8389999999999</c:v>
                </c:pt>
                <c:pt idx="159">
                  <c:v>3209.3110000000001</c:v>
                </c:pt>
                <c:pt idx="160">
                  <c:v>3294.0819999999999</c:v>
                </c:pt>
                <c:pt idx="161">
                  <c:v>3335.527</c:v>
                </c:pt>
                <c:pt idx="162">
                  <c:v>3237.366</c:v>
                </c:pt>
                <c:pt idx="163">
                  <c:v>3418.7710000000002</c:v>
                </c:pt>
                <c:pt idx="164">
                  <c:v>3485.357</c:v>
                </c:pt>
                <c:pt idx="165">
                  <c:v>3391.5540000000001</c:v>
                </c:pt>
                <c:pt idx="166">
                  <c:v>3152.1970000000001</c:v>
                </c:pt>
                <c:pt idx="167" formatCode="_(* #,##0_);_(* \(#,##0\);_(* &quot;-&quot;??_);_(@_)">
                  <c:v>2764.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15-4A4A-B116-48867BB5BB2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E$2:$E$169</c:f>
              <c:numCache>
                <c:formatCode>_(* #,##0_);_(* \(#,##0\);_(* "-"??_);_(@_)</c:formatCode>
                <c:ptCount val="168"/>
                <c:pt idx="0">
                  <c:v>4707.9857142857145</c:v>
                </c:pt>
                <c:pt idx="1">
                  <c:v>4713.1385714285716</c:v>
                </c:pt>
                <c:pt idx="2">
                  <c:v>4675.7457142857147</c:v>
                </c:pt>
                <c:pt idx="3">
                  <c:v>4685.5728571428572</c:v>
                </c:pt>
                <c:pt idx="4">
                  <c:v>4701.2985714285714</c:v>
                </c:pt>
                <c:pt idx="5">
                  <c:v>4761.8928571428569</c:v>
                </c:pt>
                <c:pt idx="6">
                  <c:v>4814.2285714285717</c:v>
                </c:pt>
                <c:pt idx="7">
                  <c:v>4845.9942857142851</c:v>
                </c:pt>
                <c:pt idx="8">
                  <c:v>4885.2371428571432</c:v>
                </c:pt>
                <c:pt idx="9">
                  <c:v>4696.66</c:v>
                </c:pt>
                <c:pt idx="10">
                  <c:v>4490.6385714285716</c:v>
                </c:pt>
                <c:pt idx="11">
                  <c:v>4371.8957142857153</c:v>
                </c:pt>
                <c:pt idx="12">
                  <c:v>4370.091428571428</c:v>
                </c:pt>
                <c:pt idx="13">
                  <c:v>4066.8399999999997</c:v>
                </c:pt>
                <c:pt idx="14">
                  <c:v>3808.2714285714283</c:v>
                </c:pt>
                <c:pt idx="15">
                  <c:v>3967.4685714285715</c:v>
                </c:pt>
                <c:pt idx="16">
                  <c:v>3997.7785714285715</c:v>
                </c:pt>
                <c:pt idx="17">
                  <c:v>3981.3842857142854</c:v>
                </c:pt>
                <c:pt idx="18">
                  <c:v>4037.5</c:v>
                </c:pt>
                <c:pt idx="19">
                  <c:v>3849.542857142857</c:v>
                </c:pt>
                <c:pt idx="20">
                  <c:v>4102.9871428571423</c:v>
                </c:pt>
                <c:pt idx="21">
                  <c:v>4369.1157142857137</c:v>
                </c:pt>
                <c:pt idx="22">
                  <c:v>4298.92</c:v>
                </c:pt>
                <c:pt idx="23">
                  <c:v>3795.3085714285712</c:v>
                </c:pt>
                <c:pt idx="24">
                  <c:v>3182.2942857142866</c:v>
                </c:pt>
                <c:pt idx="25">
                  <c:v>3480.2542857142862</c:v>
                </c:pt>
                <c:pt idx="26">
                  <c:v>3768.6714285714284</c:v>
                </c:pt>
                <c:pt idx="27">
                  <c:v>3240.8042857142855</c:v>
                </c:pt>
                <c:pt idx="28">
                  <c:v>3428.4300000000003</c:v>
                </c:pt>
                <c:pt idx="29">
                  <c:v>3819.735714285714</c:v>
                </c:pt>
                <c:pt idx="30">
                  <c:v>4171.9028571428571</c:v>
                </c:pt>
                <c:pt idx="31">
                  <c:v>4461.1942857142858</c:v>
                </c:pt>
                <c:pt idx="32">
                  <c:v>4913.1228571428583</c:v>
                </c:pt>
                <c:pt idx="33">
                  <c:v>5000.3814285714288</c:v>
                </c:pt>
                <c:pt idx="34">
                  <c:v>5034.18</c:v>
                </c:pt>
                <c:pt idx="35">
                  <c:v>5032.1314285714288</c:v>
                </c:pt>
                <c:pt idx="36">
                  <c:v>5043.4799999999996</c:v>
                </c:pt>
                <c:pt idx="37">
                  <c:v>5021.5557142857142</c:v>
                </c:pt>
                <c:pt idx="38">
                  <c:v>5020.7357142857145</c:v>
                </c:pt>
                <c:pt idx="39">
                  <c:v>5022.7971428571418</c:v>
                </c:pt>
                <c:pt idx="40">
                  <c:v>5034.8857142857141</c:v>
                </c:pt>
                <c:pt idx="41">
                  <c:v>5004.9757142857143</c:v>
                </c:pt>
                <c:pt idx="42">
                  <c:v>4854.1728571428575</c:v>
                </c:pt>
                <c:pt idx="43">
                  <c:v>3940.3428571428576</c:v>
                </c:pt>
                <c:pt idx="44">
                  <c:v>2901.8671428571433</c:v>
                </c:pt>
                <c:pt idx="45">
                  <c:v>2665.8671428571433</c:v>
                </c:pt>
                <c:pt idx="46">
                  <c:v>2128.971428571429</c:v>
                </c:pt>
                <c:pt idx="47">
                  <c:v>1948.37</c:v>
                </c:pt>
                <c:pt idx="48">
                  <c:v>1928.3785714285716</c:v>
                </c:pt>
                <c:pt idx="49">
                  <c:v>2082.2600000000002</c:v>
                </c:pt>
                <c:pt idx="50">
                  <c:v>2397.8342857142857</c:v>
                </c:pt>
                <c:pt idx="51">
                  <c:v>2741.8514285714282</c:v>
                </c:pt>
                <c:pt idx="52">
                  <c:v>2493.2628571428572</c:v>
                </c:pt>
                <c:pt idx="53">
                  <c:v>2223.3242857142859</c:v>
                </c:pt>
                <c:pt idx="54">
                  <c:v>2072.6457142857143</c:v>
                </c:pt>
                <c:pt idx="55">
                  <c:v>1667.6042857142854</c:v>
                </c:pt>
                <c:pt idx="56">
                  <c:v>1242.5500000000002</c:v>
                </c:pt>
                <c:pt idx="57">
                  <c:v>1659.3685714285716</c:v>
                </c:pt>
                <c:pt idx="58">
                  <c:v>1466.7314285714288</c:v>
                </c:pt>
                <c:pt idx="59">
                  <c:v>1365.4485714285715</c:v>
                </c:pt>
                <c:pt idx="60">
                  <c:v>1656.1771428571428</c:v>
                </c:pt>
                <c:pt idx="61">
                  <c:v>1686.8942857142856</c:v>
                </c:pt>
                <c:pt idx="62">
                  <c:v>1368.9614285714283</c:v>
                </c:pt>
                <c:pt idx="63">
                  <c:v>1091.947142857143</c:v>
                </c:pt>
                <c:pt idx="64">
                  <c:v>902.26714285714297</c:v>
                </c:pt>
                <c:pt idx="65">
                  <c:v>606.11428571428564</c:v>
                </c:pt>
                <c:pt idx="66">
                  <c:v>893.8257142857143</c:v>
                </c:pt>
                <c:pt idx="67">
                  <c:v>1181.72</c:v>
                </c:pt>
                <c:pt idx="68">
                  <c:v>1633.7957142857142</c:v>
                </c:pt>
                <c:pt idx="69">
                  <c:v>2606.04</c:v>
                </c:pt>
                <c:pt idx="70">
                  <c:v>2699.69</c:v>
                </c:pt>
                <c:pt idx="71">
                  <c:v>2408.2028571428573</c:v>
                </c:pt>
                <c:pt idx="72">
                  <c:v>2936.6257142857139</c:v>
                </c:pt>
                <c:pt idx="73">
                  <c:v>3071.83</c:v>
                </c:pt>
                <c:pt idx="74">
                  <c:v>4105.988571428571</c:v>
                </c:pt>
                <c:pt idx="75">
                  <c:v>4692.1657142857148</c:v>
                </c:pt>
                <c:pt idx="76">
                  <c:v>4519.2000000000007</c:v>
                </c:pt>
                <c:pt idx="77">
                  <c:v>4371.4514285714286</c:v>
                </c:pt>
                <c:pt idx="78">
                  <c:v>4085.7999999999997</c:v>
                </c:pt>
                <c:pt idx="79">
                  <c:v>4200.1685714285722</c:v>
                </c:pt>
                <c:pt idx="80">
                  <c:v>4530.4471428571424</c:v>
                </c:pt>
                <c:pt idx="81">
                  <c:v>4671.9957142857147</c:v>
                </c:pt>
                <c:pt idx="82">
                  <c:v>4587.5828571428574</c:v>
                </c:pt>
                <c:pt idx="83">
                  <c:v>4578.1014285714282</c:v>
                </c:pt>
                <c:pt idx="84">
                  <c:v>4622.7057142857138</c:v>
                </c:pt>
                <c:pt idx="85">
                  <c:v>4696.187142857143</c:v>
                </c:pt>
                <c:pt idx="86">
                  <c:v>4728.3685714285712</c:v>
                </c:pt>
                <c:pt idx="87">
                  <c:v>4604.4257142857141</c:v>
                </c:pt>
                <c:pt idx="88">
                  <c:v>4295.5528571428567</c:v>
                </c:pt>
                <c:pt idx="89">
                  <c:v>3799.3771428571431</c:v>
                </c:pt>
                <c:pt idx="90">
                  <c:v>3703.9285714285716</c:v>
                </c:pt>
                <c:pt idx="91">
                  <c:v>3348.9728571428568</c:v>
                </c:pt>
                <c:pt idx="92">
                  <c:v>2536.7457142857147</c:v>
                </c:pt>
                <c:pt idx="93">
                  <c:v>2244.022857142857</c:v>
                </c:pt>
                <c:pt idx="94">
                  <c:v>2052.7742857142857</c:v>
                </c:pt>
                <c:pt idx="95">
                  <c:v>1835.6857142857143</c:v>
                </c:pt>
                <c:pt idx="96">
                  <c:v>1687.4785714285715</c:v>
                </c:pt>
                <c:pt idx="97">
                  <c:v>1706.2814285714285</c:v>
                </c:pt>
                <c:pt idx="98">
                  <c:v>1722.8342857142857</c:v>
                </c:pt>
                <c:pt idx="99">
                  <c:v>1456.9985714285717</c:v>
                </c:pt>
                <c:pt idx="100">
                  <c:v>1183.1685714285713</c:v>
                </c:pt>
                <c:pt idx="101">
                  <c:v>1149.747142857143</c:v>
                </c:pt>
                <c:pt idx="102">
                  <c:v>881.67</c:v>
                </c:pt>
                <c:pt idx="103">
                  <c:v>550.12714285714287</c:v>
                </c:pt>
                <c:pt idx="104">
                  <c:v>269.85857142857139</c:v>
                </c:pt>
                <c:pt idx="105">
                  <c:v>299.00571428571425</c:v>
                </c:pt>
                <c:pt idx="106">
                  <c:v>458.41142857142864</c:v>
                </c:pt>
                <c:pt idx="107">
                  <c:v>568.43000000000006</c:v>
                </c:pt>
                <c:pt idx="108">
                  <c:v>526.29428571428571</c:v>
                </c:pt>
                <c:pt idx="109">
                  <c:v>748.82428571428579</c:v>
                </c:pt>
                <c:pt idx="110">
                  <c:v>1104.2114285714288</c:v>
                </c:pt>
                <c:pt idx="111">
                  <c:v>1704.1542857142858</c:v>
                </c:pt>
                <c:pt idx="112">
                  <c:v>2196.4271428571428</c:v>
                </c:pt>
                <c:pt idx="113">
                  <c:v>2847.3042857142855</c:v>
                </c:pt>
                <c:pt idx="114">
                  <c:v>3351.1528571428571</c:v>
                </c:pt>
                <c:pt idx="115">
                  <c:v>3714.7742857142853</c:v>
                </c:pt>
                <c:pt idx="116">
                  <c:v>4039.6242857142861</c:v>
                </c:pt>
                <c:pt idx="117">
                  <c:v>4457.227142857143</c:v>
                </c:pt>
                <c:pt idx="118">
                  <c:v>4667.8428571428576</c:v>
                </c:pt>
                <c:pt idx="119">
                  <c:v>4797.3757142857139</c:v>
                </c:pt>
                <c:pt idx="120">
                  <c:v>4908.6357142857141</c:v>
                </c:pt>
                <c:pt idx="121">
                  <c:v>4874.3585714285728</c:v>
                </c:pt>
                <c:pt idx="122">
                  <c:v>4844.2714285714283</c:v>
                </c:pt>
                <c:pt idx="123">
                  <c:v>4734.3557142857144</c:v>
                </c:pt>
                <c:pt idx="124">
                  <c:v>4643.0600000000004</c:v>
                </c:pt>
                <c:pt idx="125">
                  <c:v>4564.5071428571428</c:v>
                </c:pt>
                <c:pt idx="126">
                  <c:v>4449.8571428571431</c:v>
                </c:pt>
                <c:pt idx="127">
                  <c:v>4284.4028571428571</c:v>
                </c:pt>
                <c:pt idx="128">
                  <c:v>3735.7314285714288</c:v>
                </c:pt>
                <c:pt idx="129">
                  <c:v>3308.7057142857138</c:v>
                </c:pt>
                <c:pt idx="130">
                  <c:v>3041.5514285714285</c:v>
                </c:pt>
                <c:pt idx="131">
                  <c:v>2637.2771428571432</c:v>
                </c:pt>
                <c:pt idx="132">
                  <c:v>1912.8714285714284</c:v>
                </c:pt>
                <c:pt idx="133">
                  <c:v>1385.88</c:v>
                </c:pt>
                <c:pt idx="134">
                  <c:v>1262.9042857142858</c:v>
                </c:pt>
                <c:pt idx="135">
                  <c:v>1357.1642857142861</c:v>
                </c:pt>
                <c:pt idx="136">
                  <c:v>1260.2828571428572</c:v>
                </c:pt>
                <c:pt idx="137">
                  <c:v>890.17142857142846</c:v>
                </c:pt>
                <c:pt idx="138">
                  <c:v>569.79857142857145</c:v>
                </c:pt>
                <c:pt idx="139">
                  <c:v>482.85714285714289</c:v>
                </c:pt>
                <c:pt idx="140">
                  <c:v>845.71428571428578</c:v>
                </c:pt>
                <c:pt idx="141">
                  <c:v>1561.2842857142855</c:v>
                </c:pt>
                <c:pt idx="142">
                  <c:v>2453.0785714285721</c:v>
                </c:pt>
                <c:pt idx="143">
                  <c:v>2609.0914285714284</c:v>
                </c:pt>
                <c:pt idx="144">
                  <c:v>2713.1499999999996</c:v>
                </c:pt>
                <c:pt idx="145">
                  <c:v>2700.3828571428567</c:v>
                </c:pt>
                <c:pt idx="146">
                  <c:v>2620.7914285714287</c:v>
                </c:pt>
                <c:pt idx="147">
                  <c:v>2413.8428571428572</c:v>
                </c:pt>
                <c:pt idx="148">
                  <c:v>2055.5914285714289</c:v>
                </c:pt>
                <c:pt idx="149">
                  <c:v>1693.8057142857144</c:v>
                </c:pt>
                <c:pt idx="150">
                  <c:v>1926.9285714285716</c:v>
                </c:pt>
                <c:pt idx="151">
                  <c:v>1980.5085714285713</c:v>
                </c:pt>
                <c:pt idx="152">
                  <c:v>1794.3828571428573</c:v>
                </c:pt>
                <c:pt idx="153">
                  <c:v>1475.35</c:v>
                </c:pt>
                <c:pt idx="154">
                  <c:v>1701.9814285714285</c:v>
                </c:pt>
                <c:pt idx="155">
                  <c:v>2141.1457142857143</c:v>
                </c:pt>
                <c:pt idx="156">
                  <c:v>2152.8228571428576</c:v>
                </c:pt>
                <c:pt idx="157">
                  <c:v>3215.4985714285713</c:v>
                </c:pt>
                <c:pt idx="158">
                  <c:v>4404.0557142857142</c:v>
                </c:pt>
                <c:pt idx="159">
                  <c:v>4584.7299999999996</c:v>
                </c:pt>
                <c:pt idx="160">
                  <c:v>4705.8314285714296</c:v>
                </c:pt>
                <c:pt idx="161">
                  <c:v>4765.0385714285712</c:v>
                </c:pt>
                <c:pt idx="162">
                  <c:v>4624.8085714285717</c:v>
                </c:pt>
                <c:pt idx="163">
                  <c:v>4883.9585714285713</c:v>
                </c:pt>
                <c:pt idx="164">
                  <c:v>4979.0814285714278</c:v>
                </c:pt>
                <c:pt idx="165">
                  <c:v>4845.0771428571425</c:v>
                </c:pt>
                <c:pt idx="166">
                  <c:v>4503.1385714285716</c:v>
                </c:pt>
                <c:pt idx="167">
                  <c:v>3611.0588741574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615-4A4A-B116-48867BB5BB2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4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50095160"/>
        <c:axId val="55008967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615-4A4A-B116-48867BB5BB2F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H$2:$H$169</c:f>
              <c:numCache>
                <c:formatCode>General</c:formatCode>
                <c:ptCount val="16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0095160"/>
        <c:axId val="550089672"/>
      </c:lineChart>
      <c:catAx>
        <c:axId val="55009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0089672"/>
        <c:crosses val="autoZero"/>
        <c:auto val="1"/>
        <c:lblAlgn val="ctr"/>
        <c:lblOffset val="100"/>
        <c:noMultiLvlLbl val="0"/>
      </c:catAx>
      <c:valAx>
        <c:axId val="550089672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0095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4"/>
        <c:delete val="1"/>
      </c:legendEntry>
      <c:legendEntry>
        <c:idx val="6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CJC Targets Hourly MW for April Week</a:t>
            </a:r>
          </a:p>
        </c:rich>
      </c:tx>
      <c:layout>
        <c:manualLayout>
          <c:xMode val="edge"/>
          <c:yMode val="edge"/>
          <c:x val="0.1594028424299774"/>
          <c:y val="2.21929374471525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3455383705208"/>
          <c:y val="0.19998545226738207"/>
          <c:w val="0.82639774474876027"/>
          <c:h val="0.633885120531022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2</c:v>
                </c:pt>
                <c:pt idx="2">
                  <c:v>7345</c:v>
                </c:pt>
                <c:pt idx="3">
                  <c:v>7343</c:v>
                </c:pt>
                <c:pt idx="4">
                  <c:v>7342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</c:v>
                </c:pt>
                <c:pt idx="9">
                  <c:v>7350</c:v>
                </c:pt>
                <c:pt idx="10">
                  <c:v>7352</c:v>
                </c:pt>
                <c:pt idx="11">
                  <c:v>7342</c:v>
                </c:pt>
                <c:pt idx="12">
                  <c:v>7346</c:v>
                </c:pt>
                <c:pt idx="13">
                  <c:v>7348</c:v>
                </c:pt>
                <c:pt idx="14">
                  <c:v>7346</c:v>
                </c:pt>
                <c:pt idx="15">
                  <c:v>7345</c:v>
                </c:pt>
                <c:pt idx="16">
                  <c:v>7346</c:v>
                </c:pt>
                <c:pt idx="17">
                  <c:v>7339</c:v>
                </c:pt>
                <c:pt idx="18">
                  <c:v>7344</c:v>
                </c:pt>
                <c:pt idx="19">
                  <c:v>7341</c:v>
                </c:pt>
                <c:pt idx="20">
                  <c:v>7345</c:v>
                </c:pt>
                <c:pt idx="21">
                  <c:v>7339</c:v>
                </c:pt>
                <c:pt idx="22">
                  <c:v>7344</c:v>
                </c:pt>
                <c:pt idx="23">
                  <c:v>7337</c:v>
                </c:pt>
                <c:pt idx="24">
                  <c:v>7343</c:v>
                </c:pt>
                <c:pt idx="25">
                  <c:v>7337</c:v>
                </c:pt>
                <c:pt idx="26">
                  <c:v>7350</c:v>
                </c:pt>
                <c:pt idx="27">
                  <c:v>7345</c:v>
                </c:pt>
                <c:pt idx="28">
                  <c:v>7345</c:v>
                </c:pt>
                <c:pt idx="29">
                  <c:v>7343</c:v>
                </c:pt>
                <c:pt idx="30">
                  <c:v>7344</c:v>
                </c:pt>
                <c:pt idx="31">
                  <c:v>7348</c:v>
                </c:pt>
                <c:pt idx="32">
                  <c:v>7347</c:v>
                </c:pt>
                <c:pt idx="33">
                  <c:v>7346</c:v>
                </c:pt>
                <c:pt idx="34">
                  <c:v>7350</c:v>
                </c:pt>
                <c:pt idx="35">
                  <c:v>7345</c:v>
                </c:pt>
                <c:pt idx="36">
                  <c:v>7348</c:v>
                </c:pt>
                <c:pt idx="37">
                  <c:v>7347</c:v>
                </c:pt>
                <c:pt idx="38">
                  <c:v>7350</c:v>
                </c:pt>
                <c:pt idx="39">
                  <c:v>7348</c:v>
                </c:pt>
                <c:pt idx="40">
                  <c:v>7349</c:v>
                </c:pt>
                <c:pt idx="41">
                  <c:v>7351</c:v>
                </c:pt>
                <c:pt idx="42">
                  <c:v>7344</c:v>
                </c:pt>
                <c:pt idx="43">
                  <c:v>7352</c:v>
                </c:pt>
                <c:pt idx="44">
                  <c:v>7351</c:v>
                </c:pt>
                <c:pt idx="45">
                  <c:v>7352</c:v>
                </c:pt>
                <c:pt idx="46">
                  <c:v>7352</c:v>
                </c:pt>
                <c:pt idx="47">
                  <c:v>7355</c:v>
                </c:pt>
                <c:pt idx="48">
                  <c:v>7350</c:v>
                </c:pt>
                <c:pt idx="49">
                  <c:v>7354</c:v>
                </c:pt>
                <c:pt idx="50">
                  <c:v>7349</c:v>
                </c:pt>
                <c:pt idx="51">
                  <c:v>7359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6</c:v>
                </c:pt>
                <c:pt idx="57">
                  <c:v>7358</c:v>
                </c:pt>
                <c:pt idx="58">
                  <c:v>7353</c:v>
                </c:pt>
                <c:pt idx="59">
                  <c:v>7360</c:v>
                </c:pt>
                <c:pt idx="60">
                  <c:v>7356</c:v>
                </c:pt>
                <c:pt idx="61">
                  <c:v>7350</c:v>
                </c:pt>
                <c:pt idx="62">
                  <c:v>7350</c:v>
                </c:pt>
                <c:pt idx="63">
                  <c:v>7356</c:v>
                </c:pt>
                <c:pt idx="64">
                  <c:v>7348</c:v>
                </c:pt>
                <c:pt idx="65">
                  <c:v>7353</c:v>
                </c:pt>
                <c:pt idx="66">
                  <c:v>7351</c:v>
                </c:pt>
                <c:pt idx="67">
                  <c:v>7350</c:v>
                </c:pt>
                <c:pt idx="68">
                  <c:v>7354</c:v>
                </c:pt>
                <c:pt idx="69">
                  <c:v>7356</c:v>
                </c:pt>
                <c:pt idx="70">
                  <c:v>7351</c:v>
                </c:pt>
                <c:pt idx="71">
                  <c:v>7356</c:v>
                </c:pt>
                <c:pt idx="72">
                  <c:v>7357</c:v>
                </c:pt>
                <c:pt idx="73">
                  <c:v>7354</c:v>
                </c:pt>
                <c:pt idx="74">
                  <c:v>7352</c:v>
                </c:pt>
                <c:pt idx="75">
                  <c:v>7353</c:v>
                </c:pt>
                <c:pt idx="76">
                  <c:v>7360</c:v>
                </c:pt>
                <c:pt idx="77">
                  <c:v>7354</c:v>
                </c:pt>
                <c:pt idx="78">
                  <c:v>7361</c:v>
                </c:pt>
                <c:pt idx="79">
                  <c:v>7354</c:v>
                </c:pt>
                <c:pt idx="80">
                  <c:v>7357</c:v>
                </c:pt>
                <c:pt idx="81">
                  <c:v>7351</c:v>
                </c:pt>
                <c:pt idx="82">
                  <c:v>7358</c:v>
                </c:pt>
                <c:pt idx="83">
                  <c:v>7350</c:v>
                </c:pt>
                <c:pt idx="84">
                  <c:v>7362</c:v>
                </c:pt>
                <c:pt idx="85">
                  <c:v>7358</c:v>
                </c:pt>
                <c:pt idx="86">
                  <c:v>7353</c:v>
                </c:pt>
                <c:pt idx="87">
                  <c:v>7354</c:v>
                </c:pt>
                <c:pt idx="88">
                  <c:v>7360</c:v>
                </c:pt>
                <c:pt idx="89">
                  <c:v>7360</c:v>
                </c:pt>
                <c:pt idx="90">
                  <c:v>7361</c:v>
                </c:pt>
                <c:pt idx="91">
                  <c:v>7356</c:v>
                </c:pt>
                <c:pt idx="92">
                  <c:v>7358</c:v>
                </c:pt>
                <c:pt idx="93">
                  <c:v>7360</c:v>
                </c:pt>
                <c:pt idx="94">
                  <c:v>7357</c:v>
                </c:pt>
                <c:pt idx="95">
                  <c:v>7357</c:v>
                </c:pt>
                <c:pt idx="96">
                  <c:v>7362</c:v>
                </c:pt>
                <c:pt idx="97">
                  <c:v>7358</c:v>
                </c:pt>
                <c:pt idx="98">
                  <c:v>7358</c:v>
                </c:pt>
                <c:pt idx="99">
                  <c:v>7357</c:v>
                </c:pt>
                <c:pt idx="100">
                  <c:v>7356</c:v>
                </c:pt>
                <c:pt idx="101">
                  <c:v>7359</c:v>
                </c:pt>
                <c:pt idx="102">
                  <c:v>7361</c:v>
                </c:pt>
                <c:pt idx="103">
                  <c:v>7358</c:v>
                </c:pt>
                <c:pt idx="104">
                  <c:v>7356</c:v>
                </c:pt>
                <c:pt idx="105">
                  <c:v>7362</c:v>
                </c:pt>
                <c:pt idx="106">
                  <c:v>7361</c:v>
                </c:pt>
                <c:pt idx="107">
                  <c:v>7356</c:v>
                </c:pt>
                <c:pt idx="108">
                  <c:v>7350</c:v>
                </c:pt>
                <c:pt idx="109">
                  <c:v>7357</c:v>
                </c:pt>
                <c:pt idx="110">
                  <c:v>7355</c:v>
                </c:pt>
                <c:pt idx="111">
                  <c:v>7352</c:v>
                </c:pt>
                <c:pt idx="112">
                  <c:v>7354</c:v>
                </c:pt>
                <c:pt idx="113">
                  <c:v>7352</c:v>
                </c:pt>
                <c:pt idx="114">
                  <c:v>7356</c:v>
                </c:pt>
                <c:pt idx="115">
                  <c:v>7356</c:v>
                </c:pt>
                <c:pt idx="116">
                  <c:v>7348</c:v>
                </c:pt>
                <c:pt idx="117">
                  <c:v>7356</c:v>
                </c:pt>
                <c:pt idx="118">
                  <c:v>7344</c:v>
                </c:pt>
                <c:pt idx="119">
                  <c:v>7355</c:v>
                </c:pt>
                <c:pt idx="120">
                  <c:v>7352</c:v>
                </c:pt>
                <c:pt idx="121">
                  <c:v>7353</c:v>
                </c:pt>
                <c:pt idx="122">
                  <c:v>7351</c:v>
                </c:pt>
                <c:pt idx="123">
                  <c:v>7353</c:v>
                </c:pt>
                <c:pt idx="124">
                  <c:v>7352</c:v>
                </c:pt>
                <c:pt idx="125">
                  <c:v>7354</c:v>
                </c:pt>
                <c:pt idx="126">
                  <c:v>7350</c:v>
                </c:pt>
                <c:pt idx="127">
                  <c:v>7352</c:v>
                </c:pt>
                <c:pt idx="128">
                  <c:v>7346</c:v>
                </c:pt>
                <c:pt idx="129">
                  <c:v>7347</c:v>
                </c:pt>
                <c:pt idx="130">
                  <c:v>7344</c:v>
                </c:pt>
                <c:pt idx="131">
                  <c:v>7343</c:v>
                </c:pt>
                <c:pt idx="132">
                  <c:v>7339</c:v>
                </c:pt>
                <c:pt idx="133">
                  <c:v>7339</c:v>
                </c:pt>
                <c:pt idx="134">
                  <c:v>7339</c:v>
                </c:pt>
                <c:pt idx="135">
                  <c:v>7337</c:v>
                </c:pt>
                <c:pt idx="136">
                  <c:v>7332</c:v>
                </c:pt>
                <c:pt idx="137">
                  <c:v>7334</c:v>
                </c:pt>
                <c:pt idx="138">
                  <c:v>7337</c:v>
                </c:pt>
                <c:pt idx="139">
                  <c:v>7339</c:v>
                </c:pt>
                <c:pt idx="140">
                  <c:v>7343</c:v>
                </c:pt>
                <c:pt idx="141">
                  <c:v>7340</c:v>
                </c:pt>
                <c:pt idx="142">
                  <c:v>7340</c:v>
                </c:pt>
                <c:pt idx="143">
                  <c:v>7344</c:v>
                </c:pt>
                <c:pt idx="144">
                  <c:v>7348</c:v>
                </c:pt>
                <c:pt idx="145">
                  <c:v>7349</c:v>
                </c:pt>
                <c:pt idx="146">
                  <c:v>7341</c:v>
                </c:pt>
                <c:pt idx="147">
                  <c:v>7341</c:v>
                </c:pt>
                <c:pt idx="148">
                  <c:v>7345</c:v>
                </c:pt>
                <c:pt idx="149">
                  <c:v>7344</c:v>
                </c:pt>
                <c:pt idx="150">
                  <c:v>7340</c:v>
                </c:pt>
                <c:pt idx="151">
                  <c:v>7338</c:v>
                </c:pt>
                <c:pt idx="152">
                  <c:v>7340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</c:v>
                </c:pt>
                <c:pt idx="157">
                  <c:v>7327</c:v>
                </c:pt>
                <c:pt idx="158">
                  <c:v>7326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</c:v>
                </c:pt>
                <c:pt idx="164">
                  <c:v>7320</c:v>
                </c:pt>
                <c:pt idx="165">
                  <c:v>7316</c:v>
                </c:pt>
                <c:pt idx="166">
                  <c:v>7321</c:v>
                </c:pt>
                <c:pt idx="167">
                  <c:v>7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15-4A4A-B116-48867BB5BB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 formatCode="_(* #,##0_);_(* \(#,##0\);_(* &quot;-&quot;??_);_(@_)">
                  <c:v>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15-4A4A-B116-48867BB5BB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D$2:$D$169</c:f>
              <c:numCache>
                <c:formatCode>#,##0</c:formatCode>
                <c:ptCount val="168"/>
                <c:pt idx="0">
                  <c:v>3295.59</c:v>
                </c:pt>
                <c:pt idx="1">
                  <c:v>3299.1970000000001</c:v>
                </c:pt>
                <c:pt idx="2">
                  <c:v>3273.0219999999999</c:v>
                </c:pt>
                <c:pt idx="3">
                  <c:v>3279.9009999999998</c:v>
                </c:pt>
                <c:pt idx="4">
                  <c:v>3290.9090000000001</c:v>
                </c:pt>
                <c:pt idx="5">
                  <c:v>3333.3249999999998</c:v>
                </c:pt>
                <c:pt idx="6">
                  <c:v>3369.96</c:v>
                </c:pt>
                <c:pt idx="7">
                  <c:v>3392.1959999999999</c:v>
                </c:pt>
                <c:pt idx="8">
                  <c:v>3419.6660000000002</c:v>
                </c:pt>
                <c:pt idx="9">
                  <c:v>3287.6619999999998</c:v>
                </c:pt>
                <c:pt idx="10">
                  <c:v>3143.4470000000001</c:v>
                </c:pt>
                <c:pt idx="11">
                  <c:v>3060.3270000000002</c:v>
                </c:pt>
                <c:pt idx="12">
                  <c:v>3059.0639999999999</c:v>
                </c:pt>
                <c:pt idx="13">
                  <c:v>2846.788</c:v>
                </c:pt>
                <c:pt idx="14">
                  <c:v>2665.79</c:v>
                </c:pt>
                <c:pt idx="15">
                  <c:v>2777.2280000000001</c:v>
                </c:pt>
                <c:pt idx="16">
                  <c:v>2798.4450000000002</c:v>
                </c:pt>
                <c:pt idx="17">
                  <c:v>2786.9690000000001</c:v>
                </c:pt>
                <c:pt idx="18">
                  <c:v>2826.25</c:v>
                </c:pt>
                <c:pt idx="19">
                  <c:v>2694.68</c:v>
                </c:pt>
                <c:pt idx="20">
                  <c:v>2872.0909999999999</c:v>
                </c:pt>
                <c:pt idx="21">
                  <c:v>3058.3809999999999</c:v>
                </c:pt>
                <c:pt idx="22">
                  <c:v>3009.2440000000001</c:v>
                </c:pt>
                <c:pt idx="23">
                  <c:v>2656.7159999999999</c:v>
                </c:pt>
                <c:pt idx="24">
                  <c:v>2227.6060000000002</c:v>
                </c:pt>
                <c:pt idx="25">
                  <c:v>2436.1779999999999</c:v>
                </c:pt>
                <c:pt idx="26">
                  <c:v>2638.07</c:v>
                </c:pt>
                <c:pt idx="27">
                  <c:v>2268.5630000000001</c:v>
                </c:pt>
                <c:pt idx="28">
                  <c:v>2399.9009999999998</c:v>
                </c:pt>
                <c:pt idx="29">
                  <c:v>2673.8150000000001</c:v>
                </c:pt>
                <c:pt idx="30">
                  <c:v>2920.3319999999999</c:v>
                </c:pt>
                <c:pt idx="31">
                  <c:v>3122.8359999999998</c:v>
                </c:pt>
                <c:pt idx="32">
                  <c:v>3439.1860000000001</c:v>
                </c:pt>
                <c:pt idx="33">
                  <c:v>3500.2669999999998</c:v>
                </c:pt>
                <c:pt idx="34">
                  <c:v>3523.9259999999999</c:v>
                </c:pt>
                <c:pt idx="35">
                  <c:v>3522.4920000000002</c:v>
                </c:pt>
                <c:pt idx="36">
                  <c:v>3530.4360000000001</c:v>
                </c:pt>
                <c:pt idx="37">
                  <c:v>3515.0889999999999</c:v>
                </c:pt>
                <c:pt idx="38">
                  <c:v>3514.5149999999999</c:v>
                </c:pt>
                <c:pt idx="39">
                  <c:v>3515.9580000000001</c:v>
                </c:pt>
                <c:pt idx="40">
                  <c:v>3524.42</c:v>
                </c:pt>
                <c:pt idx="41">
                  <c:v>3503.4830000000002</c:v>
                </c:pt>
                <c:pt idx="42">
                  <c:v>3397.9209999999998</c:v>
                </c:pt>
                <c:pt idx="43">
                  <c:v>2758.24</c:v>
                </c:pt>
                <c:pt idx="44">
                  <c:v>2031.307</c:v>
                </c:pt>
                <c:pt idx="45">
                  <c:v>1866.107</c:v>
                </c:pt>
                <c:pt idx="46">
                  <c:v>1490.28</c:v>
                </c:pt>
                <c:pt idx="47">
                  <c:v>1363.8589999999999</c:v>
                </c:pt>
                <c:pt idx="48">
                  <c:v>1349.865</c:v>
                </c:pt>
                <c:pt idx="49">
                  <c:v>1457.5820000000001</c:v>
                </c:pt>
                <c:pt idx="50">
                  <c:v>1678.4839999999999</c:v>
                </c:pt>
                <c:pt idx="51">
                  <c:v>1919.296</c:v>
                </c:pt>
                <c:pt idx="52">
                  <c:v>1745.2840000000001</c:v>
                </c:pt>
                <c:pt idx="53">
                  <c:v>1556.327</c:v>
                </c:pt>
                <c:pt idx="54">
                  <c:v>1450.8520000000001</c:v>
                </c:pt>
                <c:pt idx="55">
                  <c:v>1167.3230000000001</c:v>
                </c:pt>
                <c:pt idx="56">
                  <c:v>869.78499999999997</c:v>
                </c:pt>
                <c:pt idx="57">
                  <c:v>1161.558</c:v>
                </c:pt>
                <c:pt idx="58">
                  <c:v>1026.712</c:v>
                </c:pt>
                <c:pt idx="59">
                  <c:v>955.81399999999996</c:v>
                </c:pt>
                <c:pt idx="60">
                  <c:v>1159.3240000000001</c:v>
                </c:pt>
                <c:pt idx="61">
                  <c:v>1180.826</c:v>
                </c:pt>
                <c:pt idx="62">
                  <c:v>958.27300000000002</c:v>
                </c:pt>
                <c:pt idx="63">
                  <c:v>764.36300000000006</c:v>
                </c:pt>
                <c:pt idx="64">
                  <c:v>631.58699999999999</c:v>
                </c:pt>
                <c:pt idx="65">
                  <c:v>424.28</c:v>
                </c:pt>
                <c:pt idx="66">
                  <c:v>625.678</c:v>
                </c:pt>
                <c:pt idx="67">
                  <c:v>827.20399999999995</c:v>
                </c:pt>
                <c:pt idx="68">
                  <c:v>1143.6569999999999</c:v>
                </c:pt>
                <c:pt idx="69">
                  <c:v>1824.2280000000001</c:v>
                </c:pt>
                <c:pt idx="70">
                  <c:v>1889.7829999999999</c:v>
                </c:pt>
                <c:pt idx="71">
                  <c:v>1685.742</c:v>
                </c:pt>
                <c:pt idx="72">
                  <c:v>2055.6379999999999</c:v>
                </c:pt>
                <c:pt idx="73">
                  <c:v>2150.2809999999999</c:v>
                </c:pt>
                <c:pt idx="74">
                  <c:v>2874.192</c:v>
                </c:pt>
                <c:pt idx="75">
                  <c:v>3284.5160000000001</c:v>
                </c:pt>
                <c:pt idx="76">
                  <c:v>3163.44</c:v>
                </c:pt>
                <c:pt idx="77">
                  <c:v>3060.0160000000001</c:v>
                </c:pt>
                <c:pt idx="78">
                  <c:v>2860.06</c:v>
                </c:pt>
                <c:pt idx="79">
                  <c:v>2940.1179999999999</c:v>
                </c:pt>
                <c:pt idx="80">
                  <c:v>3171.3130000000001</c:v>
                </c:pt>
                <c:pt idx="81">
                  <c:v>3270.3969999999999</c:v>
                </c:pt>
                <c:pt idx="82">
                  <c:v>3211.308</c:v>
                </c:pt>
                <c:pt idx="83">
                  <c:v>3204.6709999999998</c:v>
                </c:pt>
                <c:pt idx="84">
                  <c:v>3235.8939999999998</c:v>
                </c:pt>
                <c:pt idx="85">
                  <c:v>3287.3310000000001</c:v>
                </c:pt>
                <c:pt idx="86">
                  <c:v>3309.8580000000002</c:v>
                </c:pt>
                <c:pt idx="87">
                  <c:v>3223.098</c:v>
                </c:pt>
                <c:pt idx="88">
                  <c:v>3006.8870000000002</c:v>
                </c:pt>
                <c:pt idx="89">
                  <c:v>2659.5639999999999</c:v>
                </c:pt>
                <c:pt idx="90">
                  <c:v>2592.75</c:v>
                </c:pt>
                <c:pt idx="91">
                  <c:v>2344.2809999999999</c:v>
                </c:pt>
                <c:pt idx="92">
                  <c:v>1775.722</c:v>
                </c:pt>
                <c:pt idx="93">
                  <c:v>1570.816</c:v>
                </c:pt>
                <c:pt idx="94">
                  <c:v>1436.942</c:v>
                </c:pt>
                <c:pt idx="95">
                  <c:v>1284.98</c:v>
                </c:pt>
                <c:pt idx="96">
                  <c:v>1181.2349999999999</c:v>
                </c:pt>
                <c:pt idx="97">
                  <c:v>1194.3969999999999</c:v>
                </c:pt>
                <c:pt idx="98">
                  <c:v>1205.9839999999999</c:v>
                </c:pt>
                <c:pt idx="99">
                  <c:v>1019.899</c:v>
                </c:pt>
                <c:pt idx="100">
                  <c:v>828.21799999999996</c:v>
                </c:pt>
                <c:pt idx="101">
                  <c:v>804.82299999999998</c:v>
                </c:pt>
                <c:pt idx="102">
                  <c:v>617.16899999999998</c:v>
                </c:pt>
                <c:pt idx="103">
                  <c:v>385.089</c:v>
                </c:pt>
                <c:pt idx="104">
                  <c:v>188.90100000000001</c:v>
                </c:pt>
                <c:pt idx="105">
                  <c:v>209.304</c:v>
                </c:pt>
                <c:pt idx="106">
                  <c:v>320.88799999999998</c:v>
                </c:pt>
                <c:pt idx="107">
                  <c:v>397.90100000000001</c:v>
                </c:pt>
                <c:pt idx="108">
                  <c:v>368.40600000000001</c:v>
                </c:pt>
                <c:pt idx="109">
                  <c:v>524.17700000000002</c:v>
                </c:pt>
                <c:pt idx="110">
                  <c:v>772.94799999999998</c:v>
                </c:pt>
                <c:pt idx="111">
                  <c:v>1192.9079999999999</c:v>
                </c:pt>
                <c:pt idx="112">
                  <c:v>1537.499</c:v>
                </c:pt>
                <c:pt idx="113">
                  <c:v>1993.1130000000001</c:v>
                </c:pt>
                <c:pt idx="114">
                  <c:v>2345.8069999999998</c:v>
                </c:pt>
                <c:pt idx="115">
                  <c:v>2600.3420000000001</c:v>
                </c:pt>
                <c:pt idx="116">
                  <c:v>2827.7370000000001</c:v>
                </c:pt>
                <c:pt idx="117">
                  <c:v>3120.0590000000002</c:v>
                </c:pt>
                <c:pt idx="118">
                  <c:v>3267.49</c:v>
                </c:pt>
                <c:pt idx="119">
                  <c:v>3358.163</c:v>
                </c:pt>
                <c:pt idx="120">
                  <c:v>3436.0450000000001</c:v>
                </c:pt>
                <c:pt idx="121">
                  <c:v>3412.0509999999999</c:v>
                </c:pt>
                <c:pt idx="122">
                  <c:v>3390.99</c:v>
                </c:pt>
                <c:pt idx="123">
                  <c:v>3314.049</c:v>
                </c:pt>
                <c:pt idx="124">
                  <c:v>3250.1419999999998</c:v>
                </c:pt>
                <c:pt idx="125">
                  <c:v>3195.1550000000002</c:v>
                </c:pt>
                <c:pt idx="126">
                  <c:v>3114.9</c:v>
                </c:pt>
                <c:pt idx="127">
                  <c:v>2999.0819999999999</c:v>
                </c:pt>
                <c:pt idx="128">
                  <c:v>2615.0120000000002</c:v>
                </c:pt>
                <c:pt idx="129">
                  <c:v>2316.0940000000001</c:v>
                </c:pt>
                <c:pt idx="130">
                  <c:v>2129.0859999999998</c:v>
                </c:pt>
                <c:pt idx="131">
                  <c:v>1846.0940000000001</c:v>
                </c:pt>
                <c:pt idx="132">
                  <c:v>1339.01</c:v>
                </c:pt>
                <c:pt idx="133">
                  <c:v>970.11599999999999</c:v>
                </c:pt>
                <c:pt idx="134">
                  <c:v>884.03300000000002</c:v>
                </c:pt>
                <c:pt idx="135">
                  <c:v>950.01499999999999</c:v>
                </c:pt>
                <c:pt idx="136">
                  <c:v>882.19799999999998</c:v>
                </c:pt>
                <c:pt idx="137">
                  <c:v>623.12</c:v>
                </c:pt>
                <c:pt idx="138">
                  <c:v>398.85899999999998</c:v>
                </c:pt>
                <c:pt idx="139">
                  <c:v>338</c:v>
                </c:pt>
                <c:pt idx="140">
                  <c:v>592</c:v>
                </c:pt>
                <c:pt idx="141">
                  <c:v>1092.8989999999999</c:v>
                </c:pt>
                <c:pt idx="142">
                  <c:v>1717.155</c:v>
                </c:pt>
                <c:pt idx="143">
                  <c:v>1826.364</c:v>
                </c:pt>
                <c:pt idx="144">
                  <c:v>1899.2049999999999</c:v>
                </c:pt>
                <c:pt idx="145">
                  <c:v>1890.268</c:v>
                </c:pt>
                <c:pt idx="146">
                  <c:v>1834.5540000000001</c:v>
                </c:pt>
                <c:pt idx="147">
                  <c:v>1689.69</c:v>
                </c:pt>
                <c:pt idx="148">
                  <c:v>1438.914</c:v>
                </c:pt>
                <c:pt idx="149">
                  <c:v>1185.664</c:v>
                </c:pt>
                <c:pt idx="150">
                  <c:v>1348.85</c:v>
                </c:pt>
                <c:pt idx="151">
                  <c:v>1386.356</c:v>
                </c:pt>
                <c:pt idx="152">
                  <c:v>1256.068</c:v>
                </c:pt>
                <c:pt idx="153">
                  <c:v>1032.7449999999999</c:v>
                </c:pt>
                <c:pt idx="154">
                  <c:v>1191.3869999999999</c:v>
                </c:pt>
                <c:pt idx="155">
                  <c:v>1498.8019999999999</c:v>
                </c:pt>
                <c:pt idx="156">
                  <c:v>1506.9760000000001</c:v>
                </c:pt>
                <c:pt idx="157">
                  <c:v>2250.8490000000002</c:v>
                </c:pt>
                <c:pt idx="158">
                  <c:v>3082.8389999999999</c:v>
                </c:pt>
                <c:pt idx="159">
                  <c:v>3209.3110000000001</c:v>
                </c:pt>
                <c:pt idx="160">
                  <c:v>3294.0819999999999</c:v>
                </c:pt>
                <c:pt idx="161">
                  <c:v>3335.527</c:v>
                </c:pt>
                <c:pt idx="162">
                  <c:v>3237.366</c:v>
                </c:pt>
                <c:pt idx="163">
                  <c:v>3418.7710000000002</c:v>
                </c:pt>
                <c:pt idx="164">
                  <c:v>3485.357</c:v>
                </c:pt>
                <c:pt idx="165">
                  <c:v>3391.5540000000001</c:v>
                </c:pt>
                <c:pt idx="166">
                  <c:v>3152.1970000000001</c:v>
                </c:pt>
                <c:pt idx="167" formatCode="_(* #,##0_);_(* \(#,##0\);_(* &quot;-&quot;??_);_(@_)">
                  <c:v>2764.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15-4A4A-B116-48867BB5BB2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E$2:$E$169</c:f>
              <c:numCache>
                <c:formatCode>_(* #,##0_);_(* \(#,##0\);_(* "-"??_);_(@_)</c:formatCode>
                <c:ptCount val="168"/>
                <c:pt idx="0">
                  <c:v>4707.9857142857145</c:v>
                </c:pt>
                <c:pt idx="1">
                  <c:v>4713.1385714285716</c:v>
                </c:pt>
                <c:pt idx="2">
                  <c:v>4675.7457142857147</c:v>
                </c:pt>
                <c:pt idx="3">
                  <c:v>4685.5728571428572</c:v>
                </c:pt>
                <c:pt idx="4">
                  <c:v>4701.2985714285714</c:v>
                </c:pt>
                <c:pt idx="5">
                  <c:v>4761.8928571428569</c:v>
                </c:pt>
                <c:pt idx="6">
                  <c:v>4814.2285714285717</c:v>
                </c:pt>
                <c:pt idx="7">
                  <c:v>4845.9942857142851</c:v>
                </c:pt>
                <c:pt idx="8">
                  <c:v>4885.2371428571432</c:v>
                </c:pt>
                <c:pt idx="9">
                  <c:v>4696.66</c:v>
                </c:pt>
                <c:pt idx="10">
                  <c:v>4490.6385714285716</c:v>
                </c:pt>
                <c:pt idx="11">
                  <c:v>4371.8957142857153</c:v>
                </c:pt>
                <c:pt idx="12">
                  <c:v>4370.091428571428</c:v>
                </c:pt>
                <c:pt idx="13">
                  <c:v>4066.8399999999997</c:v>
                </c:pt>
                <c:pt idx="14">
                  <c:v>3808.2714285714283</c:v>
                </c:pt>
                <c:pt idx="15">
                  <c:v>3967.4685714285715</c:v>
                </c:pt>
                <c:pt idx="16">
                  <c:v>3997.7785714285715</c:v>
                </c:pt>
                <c:pt idx="17">
                  <c:v>3981.3842857142854</c:v>
                </c:pt>
                <c:pt idx="18">
                  <c:v>4037.5</c:v>
                </c:pt>
                <c:pt idx="19">
                  <c:v>3849.542857142857</c:v>
                </c:pt>
                <c:pt idx="20">
                  <c:v>4102.9871428571423</c:v>
                </c:pt>
                <c:pt idx="21">
                  <c:v>4369.1157142857137</c:v>
                </c:pt>
                <c:pt idx="22">
                  <c:v>4298.92</c:v>
                </c:pt>
                <c:pt idx="23">
                  <c:v>3795.3085714285712</c:v>
                </c:pt>
                <c:pt idx="24">
                  <c:v>3182.2942857142866</c:v>
                </c:pt>
                <c:pt idx="25">
                  <c:v>3480.2542857142862</c:v>
                </c:pt>
                <c:pt idx="26">
                  <c:v>3768.6714285714284</c:v>
                </c:pt>
                <c:pt idx="27">
                  <c:v>3240.8042857142855</c:v>
                </c:pt>
                <c:pt idx="28">
                  <c:v>3428.4300000000003</c:v>
                </c:pt>
                <c:pt idx="29">
                  <c:v>3819.735714285714</c:v>
                </c:pt>
                <c:pt idx="30">
                  <c:v>4171.9028571428571</c:v>
                </c:pt>
                <c:pt idx="31">
                  <c:v>4461.1942857142858</c:v>
                </c:pt>
                <c:pt idx="32">
                  <c:v>4913.1228571428583</c:v>
                </c:pt>
                <c:pt idx="33">
                  <c:v>5000.3814285714288</c:v>
                </c:pt>
                <c:pt idx="34">
                  <c:v>5034.18</c:v>
                </c:pt>
                <c:pt idx="35">
                  <c:v>5032.1314285714288</c:v>
                </c:pt>
                <c:pt idx="36">
                  <c:v>5043.4799999999996</c:v>
                </c:pt>
                <c:pt idx="37">
                  <c:v>5021.5557142857142</c:v>
                </c:pt>
                <c:pt idx="38">
                  <c:v>5020.7357142857145</c:v>
                </c:pt>
                <c:pt idx="39">
                  <c:v>5022.7971428571418</c:v>
                </c:pt>
                <c:pt idx="40">
                  <c:v>5034.8857142857141</c:v>
                </c:pt>
                <c:pt idx="41">
                  <c:v>5004.9757142857143</c:v>
                </c:pt>
                <c:pt idx="42">
                  <c:v>4854.1728571428575</c:v>
                </c:pt>
                <c:pt idx="43">
                  <c:v>3940.3428571428576</c:v>
                </c:pt>
                <c:pt idx="44">
                  <c:v>2901.8671428571433</c:v>
                </c:pt>
                <c:pt idx="45">
                  <c:v>2665.8671428571433</c:v>
                </c:pt>
                <c:pt idx="46">
                  <c:v>2128.971428571429</c:v>
                </c:pt>
                <c:pt idx="47">
                  <c:v>1948.37</c:v>
                </c:pt>
                <c:pt idx="48">
                  <c:v>1928.3785714285716</c:v>
                </c:pt>
                <c:pt idx="49">
                  <c:v>2082.2600000000002</c:v>
                </c:pt>
                <c:pt idx="50">
                  <c:v>2397.8342857142857</c:v>
                </c:pt>
                <c:pt idx="51">
                  <c:v>2741.8514285714282</c:v>
                </c:pt>
                <c:pt idx="52">
                  <c:v>2493.2628571428572</c:v>
                </c:pt>
                <c:pt idx="53">
                  <c:v>2223.3242857142859</c:v>
                </c:pt>
                <c:pt idx="54">
                  <c:v>2072.6457142857143</c:v>
                </c:pt>
                <c:pt idx="55">
                  <c:v>1667.6042857142854</c:v>
                </c:pt>
                <c:pt idx="56">
                  <c:v>1242.5500000000002</c:v>
                </c:pt>
                <c:pt idx="57">
                  <c:v>1659.3685714285716</c:v>
                </c:pt>
                <c:pt idx="58">
                  <c:v>1466.7314285714288</c:v>
                </c:pt>
                <c:pt idx="59">
                  <c:v>1365.4485714285715</c:v>
                </c:pt>
                <c:pt idx="60">
                  <c:v>1656.1771428571428</c:v>
                </c:pt>
                <c:pt idx="61">
                  <c:v>1686.8942857142856</c:v>
                </c:pt>
                <c:pt idx="62">
                  <c:v>1368.9614285714283</c:v>
                </c:pt>
                <c:pt idx="63">
                  <c:v>1091.947142857143</c:v>
                </c:pt>
                <c:pt idx="64">
                  <c:v>902.26714285714297</c:v>
                </c:pt>
                <c:pt idx="65">
                  <c:v>606.11428571428564</c:v>
                </c:pt>
                <c:pt idx="66">
                  <c:v>893.8257142857143</c:v>
                </c:pt>
                <c:pt idx="67">
                  <c:v>1181.72</c:v>
                </c:pt>
                <c:pt idx="68">
                  <c:v>1633.7957142857142</c:v>
                </c:pt>
                <c:pt idx="69">
                  <c:v>2606.04</c:v>
                </c:pt>
                <c:pt idx="70">
                  <c:v>2699.69</c:v>
                </c:pt>
                <c:pt idx="71">
                  <c:v>2408.2028571428573</c:v>
                </c:pt>
                <c:pt idx="72">
                  <c:v>2936.6257142857139</c:v>
                </c:pt>
                <c:pt idx="73">
                  <c:v>3071.83</c:v>
                </c:pt>
                <c:pt idx="74">
                  <c:v>4105.988571428571</c:v>
                </c:pt>
                <c:pt idx="75">
                  <c:v>4692.1657142857148</c:v>
                </c:pt>
                <c:pt idx="76">
                  <c:v>4519.2000000000007</c:v>
                </c:pt>
                <c:pt idx="77">
                  <c:v>4371.4514285714286</c:v>
                </c:pt>
                <c:pt idx="78">
                  <c:v>4085.7999999999997</c:v>
                </c:pt>
                <c:pt idx="79">
                  <c:v>4200.1685714285722</c:v>
                </c:pt>
                <c:pt idx="80">
                  <c:v>4530.4471428571424</c:v>
                </c:pt>
                <c:pt idx="81">
                  <c:v>4671.9957142857147</c:v>
                </c:pt>
                <c:pt idx="82">
                  <c:v>4587.5828571428574</c:v>
                </c:pt>
                <c:pt idx="83">
                  <c:v>4578.1014285714282</c:v>
                </c:pt>
                <c:pt idx="84">
                  <c:v>4622.7057142857138</c:v>
                </c:pt>
                <c:pt idx="85">
                  <c:v>4696.187142857143</c:v>
                </c:pt>
                <c:pt idx="86">
                  <c:v>4728.3685714285712</c:v>
                </c:pt>
                <c:pt idx="87">
                  <c:v>4604.4257142857141</c:v>
                </c:pt>
                <c:pt idx="88">
                  <c:v>4295.5528571428567</c:v>
                </c:pt>
                <c:pt idx="89">
                  <c:v>3799.3771428571431</c:v>
                </c:pt>
                <c:pt idx="90">
                  <c:v>3703.9285714285716</c:v>
                </c:pt>
                <c:pt idx="91">
                  <c:v>3348.9728571428568</c:v>
                </c:pt>
                <c:pt idx="92">
                  <c:v>2536.7457142857147</c:v>
                </c:pt>
                <c:pt idx="93">
                  <c:v>2244.022857142857</c:v>
                </c:pt>
                <c:pt idx="94">
                  <c:v>2052.7742857142857</c:v>
                </c:pt>
                <c:pt idx="95">
                  <c:v>1835.6857142857143</c:v>
                </c:pt>
                <c:pt idx="96">
                  <c:v>1687.4785714285715</c:v>
                </c:pt>
                <c:pt idx="97">
                  <c:v>1706.2814285714285</c:v>
                </c:pt>
                <c:pt idx="98">
                  <c:v>1722.8342857142857</c:v>
                </c:pt>
                <c:pt idx="99">
                  <c:v>1456.9985714285717</c:v>
                </c:pt>
                <c:pt idx="100">
                  <c:v>1183.1685714285713</c:v>
                </c:pt>
                <c:pt idx="101">
                  <c:v>1149.747142857143</c:v>
                </c:pt>
                <c:pt idx="102">
                  <c:v>881.67</c:v>
                </c:pt>
                <c:pt idx="103">
                  <c:v>550.12714285714287</c:v>
                </c:pt>
                <c:pt idx="104">
                  <c:v>269.85857142857139</c:v>
                </c:pt>
                <c:pt idx="105">
                  <c:v>299.00571428571425</c:v>
                </c:pt>
                <c:pt idx="106">
                  <c:v>458.41142857142864</c:v>
                </c:pt>
                <c:pt idx="107">
                  <c:v>568.43000000000006</c:v>
                </c:pt>
                <c:pt idx="108">
                  <c:v>526.29428571428571</c:v>
                </c:pt>
                <c:pt idx="109">
                  <c:v>748.82428571428579</c:v>
                </c:pt>
                <c:pt idx="110">
                  <c:v>1104.2114285714288</c:v>
                </c:pt>
                <c:pt idx="111">
                  <c:v>1704.1542857142858</c:v>
                </c:pt>
                <c:pt idx="112">
                  <c:v>2196.4271428571428</c:v>
                </c:pt>
                <c:pt idx="113">
                  <c:v>2847.3042857142855</c:v>
                </c:pt>
                <c:pt idx="114">
                  <c:v>3351.1528571428571</c:v>
                </c:pt>
                <c:pt idx="115">
                  <c:v>3714.7742857142853</c:v>
                </c:pt>
                <c:pt idx="116">
                  <c:v>4039.6242857142861</c:v>
                </c:pt>
                <c:pt idx="117">
                  <c:v>4457.227142857143</c:v>
                </c:pt>
                <c:pt idx="118">
                  <c:v>4667.8428571428576</c:v>
                </c:pt>
                <c:pt idx="119">
                  <c:v>4797.3757142857139</c:v>
                </c:pt>
                <c:pt idx="120">
                  <c:v>4908.6357142857141</c:v>
                </c:pt>
                <c:pt idx="121">
                  <c:v>4874.3585714285728</c:v>
                </c:pt>
                <c:pt idx="122">
                  <c:v>4844.2714285714283</c:v>
                </c:pt>
                <c:pt idx="123">
                  <c:v>4734.3557142857144</c:v>
                </c:pt>
                <c:pt idx="124">
                  <c:v>4643.0600000000004</c:v>
                </c:pt>
                <c:pt idx="125">
                  <c:v>4564.5071428571428</c:v>
                </c:pt>
                <c:pt idx="126">
                  <c:v>4449.8571428571431</c:v>
                </c:pt>
                <c:pt idx="127">
                  <c:v>4284.4028571428571</c:v>
                </c:pt>
                <c:pt idx="128">
                  <c:v>3735.7314285714288</c:v>
                </c:pt>
                <c:pt idx="129">
                  <c:v>3308.7057142857138</c:v>
                </c:pt>
                <c:pt idx="130">
                  <c:v>3041.5514285714285</c:v>
                </c:pt>
                <c:pt idx="131">
                  <c:v>2637.2771428571432</c:v>
                </c:pt>
                <c:pt idx="132">
                  <c:v>1912.8714285714284</c:v>
                </c:pt>
                <c:pt idx="133">
                  <c:v>1385.88</c:v>
                </c:pt>
                <c:pt idx="134">
                  <c:v>1262.9042857142858</c:v>
                </c:pt>
                <c:pt idx="135">
                  <c:v>1357.1642857142861</c:v>
                </c:pt>
                <c:pt idx="136">
                  <c:v>1260.2828571428572</c:v>
                </c:pt>
                <c:pt idx="137">
                  <c:v>890.17142857142846</c:v>
                </c:pt>
                <c:pt idx="138">
                  <c:v>569.79857142857145</c:v>
                </c:pt>
                <c:pt idx="139">
                  <c:v>482.85714285714289</c:v>
                </c:pt>
                <c:pt idx="140">
                  <c:v>845.71428571428578</c:v>
                </c:pt>
                <c:pt idx="141">
                  <c:v>1561.2842857142855</c:v>
                </c:pt>
                <c:pt idx="142">
                  <c:v>2453.0785714285721</c:v>
                </c:pt>
                <c:pt idx="143">
                  <c:v>2609.0914285714284</c:v>
                </c:pt>
                <c:pt idx="144">
                  <c:v>2713.1499999999996</c:v>
                </c:pt>
                <c:pt idx="145">
                  <c:v>2700.3828571428567</c:v>
                </c:pt>
                <c:pt idx="146">
                  <c:v>2620.7914285714287</c:v>
                </c:pt>
                <c:pt idx="147">
                  <c:v>2413.8428571428572</c:v>
                </c:pt>
                <c:pt idx="148">
                  <c:v>2055.5914285714289</c:v>
                </c:pt>
                <c:pt idx="149">
                  <c:v>1693.8057142857144</c:v>
                </c:pt>
                <c:pt idx="150">
                  <c:v>1926.9285714285716</c:v>
                </c:pt>
                <c:pt idx="151">
                  <c:v>1980.5085714285713</c:v>
                </c:pt>
                <c:pt idx="152">
                  <c:v>1794.3828571428573</c:v>
                </c:pt>
                <c:pt idx="153">
                  <c:v>1475.35</c:v>
                </c:pt>
                <c:pt idx="154">
                  <c:v>1701.9814285714285</c:v>
                </c:pt>
                <c:pt idx="155">
                  <c:v>2141.1457142857143</c:v>
                </c:pt>
                <c:pt idx="156">
                  <c:v>2152.8228571428576</c:v>
                </c:pt>
                <c:pt idx="157">
                  <c:v>3215.4985714285713</c:v>
                </c:pt>
                <c:pt idx="158">
                  <c:v>4404.0557142857142</c:v>
                </c:pt>
                <c:pt idx="159">
                  <c:v>4584.7299999999996</c:v>
                </c:pt>
                <c:pt idx="160">
                  <c:v>4705.8314285714296</c:v>
                </c:pt>
                <c:pt idx="161">
                  <c:v>4765.0385714285712</c:v>
                </c:pt>
                <c:pt idx="162">
                  <c:v>4624.8085714285717</c:v>
                </c:pt>
                <c:pt idx="163">
                  <c:v>4883.9585714285713</c:v>
                </c:pt>
                <c:pt idx="164">
                  <c:v>4979.0814285714278</c:v>
                </c:pt>
                <c:pt idx="165">
                  <c:v>4845.0771428571425</c:v>
                </c:pt>
                <c:pt idx="166">
                  <c:v>4503.1385714285716</c:v>
                </c:pt>
                <c:pt idx="167">
                  <c:v>3611.0588741574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615-4A4A-B116-48867BB5BB2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600</c:v>
                </c:pt>
                <c:pt idx="7">
                  <c:v>600</c:v>
                </c:pt>
                <c:pt idx="8">
                  <c:v>1200</c:v>
                </c:pt>
                <c:pt idx="9">
                  <c:v>3000</c:v>
                </c:pt>
                <c:pt idx="10">
                  <c:v>3000</c:v>
                </c:pt>
                <c:pt idx="11">
                  <c:v>3000</c:v>
                </c:pt>
                <c:pt idx="12">
                  <c:v>3600</c:v>
                </c:pt>
                <c:pt idx="13">
                  <c:v>4200</c:v>
                </c:pt>
                <c:pt idx="14">
                  <c:v>4200</c:v>
                </c:pt>
                <c:pt idx="15">
                  <c:v>3000</c:v>
                </c:pt>
                <c:pt idx="16">
                  <c:v>600</c:v>
                </c:pt>
                <c:pt idx="17">
                  <c:v>60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4200</c:v>
                </c:pt>
                <c:pt idx="33">
                  <c:v>4800</c:v>
                </c:pt>
                <c:pt idx="34">
                  <c:v>4800</c:v>
                </c:pt>
                <c:pt idx="35">
                  <c:v>5400</c:v>
                </c:pt>
                <c:pt idx="36">
                  <c:v>4200</c:v>
                </c:pt>
                <c:pt idx="37">
                  <c:v>4800</c:v>
                </c:pt>
                <c:pt idx="38">
                  <c:v>4800</c:v>
                </c:pt>
                <c:pt idx="39">
                  <c:v>3000</c:v>
                </c:pt>
                <c:pt idx="40">
                  <c:v>2400</c:v>
                </c:pt>
                <c:pt idx="41">
                  <c:v>1200</c:v>
                </c:pt>
                <c:pt idx="42">
                  <c:v>120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1800</c:v>
                </c:pt>
                <c:pt idx="56">
                  <c:v>4200</c:v>
                </c:pt>
                <c:pt idx="57">
                  <c:v>3600</c:v>
                </c:pt>
                <c:pt idx="58">
                  <c:v>4200</c:v>
                </c:pt>
                <c:pt idx="59">
                  <c:v>5400</c:v>
                </c:pt>
                <c:pt idx="60">
                  <c:v>4200</c:v>
                </c:pt>
                <c:pt idx="61">
                  <c:v>5400</c:v>
                </c:pt>
                <c:pt idx="62">
                  <c:v>5400</c:v>
                </c:pt>
                <c:pt idx="63">
                  <c:v>4200</c:v>
                </c:pt>
                <c:pt idx="64">
                  <c:v>5400</c:v>
                </c:pt>
                <c:pt idx="65">
                  <c:v>3000</c:v>
                </c:pt>
                <c:pt idx="66">
                  <c:v>120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600</c:v>
                </c:pt>
                <c:pt idx="87">
                  <c:v>600</c:v>
                </c:pt>
                <c:pt idx="88">
                  <c:v>120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1800</c:v>
                </c:pt>
                <c:pt idx="104">
                  <c:v>4800</c:v>
                </c:pt>
                <c:pt idx="105">
                  <c:v>4800</c:v>
                </c:pt>
                <c:pt idx="106">
                  <c:v>4800</c:v>
                </c:pt>
                <c:pt idx="107">
                  <c:v>5400</c:v>
                </c:pt>
                <c:pt idx="108">
                  <c:v>5400</c:v>
                </c:pt>
                <c:pt idx="109">
                  <c:v>5400</c:v>
                </c:pt>
                <c:pt idx="110">
                  <c:v>4200</c:v>
                </c:pt>
                <c:pt idx="111">
                  <c:v>5400</c:v>
                </c:pt>
                <c:pt idx="112">
                  <c:v>5400</c:v>
                </c:pt>
                <c:pt idx="113">
                  <c:v>120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600</c:v>
                </c:pt>
                <c:pt idx="128">
                  <c:v>3600</c:v>
                </c:pt>
                <c:pt idx="129">
                  <c:v>4200</c:v>
                </c:pt>
                <c:pt idx="130">
                  <c:v>4200</c:v>
                </c:pt>
                <c:pt idx="131">
                  <c:v>5400</c:v>
                </c:pt>
                <c:pt idx="132">
                  <c:v>4200</c:v>
                </c:pt>
                <c:pt idx="133">
                  <c:v>4800</c:v>
                </c:pt>
                <c:pt idx="134">
                  <c:v>4200</c:v>
                </c:pt>
                <c:pt idx="135">
                  <c:v>4200</c:v>
                </c:pt>
                <c:pt idx="136">
                  <c:v>3000</c:v>
                </c:pt>
                <c:pt idx="137">
                  <c:v>120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600</c:v>
                </c:pt>
                <c:pt idx="152">
                  <c:v>1200</c:v>
                </c:pt>
                <c:pt idx="153">
                  <c:v>600</c:v>
                </c:pt>
                <c:pt idx="154">
                  <c:v>1800</c:v>
                </c:pt>
                <c:pt idx="155">
                  <c:v>3000</c:v>
                </c:pt>
                <c:pt idx="156">
                  <c:v>4200</c:v>
                </c:pt>
                <c:pt idx="157">
                  <c:v>3600</c:v>
                </c:pt>
                <c:pt idx="158">
                  <c:v>4200</c:v>
                </c:pt>
                <c:pt idx="159">
                  <c:v>2400</c:v>
                </c:pt>
                <c:pt idx="160">
                  <c:v>2400</c:v>
                </c:pt>
                <c:pt idx="161">
                  <c:v>600</c:v>
                </c:pt>
                <c:pt idx="162">
                  <c:v>120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 formatCode="_(* #,##0_);_(* \(#,##0\);_(* &quot;-&quot;??_);_(@_)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93870776"/>
        <c:axId val="793874304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615-4A4A-B116-48867BB5BB2F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H$2:$H$169</c:f>
              <c:numCache>
                <c:formatCode>_(* #,##0_);_(* \(#,##0\);_(* "-"??_);_(@_)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039.062</c:v>
                </c:pt>
                <c:pt idx="7">
                  <c:v>10546.269</c:v>
                </c:pt>
                <c:pt idx="8">
                  <c:v>10086.681</c:v>
                </c:pt>
                <c:pt idx="9">
                  <c:v>8331.9830000000002</c:v>
                </c:pt>
                <c:pt idx="10">
                  <c:v>8211.4470000000001</c:v>
                </c:pt>
                <c:pt idx="11">
                  <c:v>8030.48</c:v>
                </c:pt>
                <c:pt idx="12">
                  <c:v>7365.3770000000004</c:v>
                </c:pt>
                <c:pt idx="13">
                  <c:v>6675.2170000000006</c:v>
                </c:pt>
                <c:pt idx="14">
                  <c:v>6482.2189999999991</c:v>
                </c:pt>
                <c:pt idx="15">
                  <c:v>7537.8349999999991</c:v>
                </c:pt>
                <c:pt idx="16">
                  <c:v>9863.7829999999994</c:v>
                </c:pt>
                <c:pt idx="17">
                  <c:v>9828.4390000000003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6503.4249999999993</c:v>
                </c:pt>
                <c:pt idx="33">
                  <c:v>5976.2350000000006</c:v>
                </c:pt>
                <c:pt idx="34">
                  <c:v>6040.2909999999993</c:v>
                </c:pt>
                <c:pt idx="35">
                  <c:v>5347.7939999999999</c:v>
                </c:pt>
                <c:pt idx="36">
                  <c:v>6468.6129999999994</c:v>
                </c:pt>
                <c:pt idx="37">
                  <c:v>5834.0400000000009</c:v>
                </c:pt>
                <c:pt idx="38">
                  <c:v>5689.7180000000008</c:v>
                </c:pt>
                <c:pt idx="39">
                  <c:v>7350.3379999999997</c:v>
                </c:pt>
                <c:pt idx="40">
                  <c:v>7912.652</c:v>
                </c:pt>
                <c:pt idx="41">
                  <c:v>9047.7980000000007</c:v>
                </c:pt>
                <c:pt idx="42">
                  <c:v>8970.1880000000001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7502.3490000000002</c:v>
                </c:pt>
                <c:pt idx="56">
                  <c:v>5291.866</c:v>
                </c:pt>
                <c:pt idx="57">
                  <c:v>5978.8940000000002</c:v>
                </c:pt>
                <c:pt idx="58">
                  <c:v>5353.7669999999998</c:v>
                </c:pt>
                <c:pt idx="59">
                  <c:v>4068.0349999999999</c:v>
                </c:pt>
                <c:pt idx="60">
                  <c:v>5097.616</c:v>
                </c:pt>
                <c:pt idx="61">
                  <c:v>3675.1260000000002</c:v>
                </c:pt>
                <c:pt idx="62">
                  <c:v>3517.5769999999993</c:v>
                </c:pt>
                <c:pt idx="63">
                  <c:v>4542.6650000000009</c:v>
                </c:pt>
                <c:pt idx="64">
                  <c:v>3315.9719999999998</c:v>
                </c:pt>
                <c:pt idx="65">
                  <c:v>5701.65</c:v>
                </c:pt>
                <c:pt idx="66">
                  <c:v>75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277.7160000000003</c:v>
                </c:pt>
                <c:pt idx="87">
                  <c:v>9166.1229999999996</c:v>
                </c:pt>
                <c:pt idx="88">
                  <c:v>86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9163.3130000000001</c:v>
                </c:pt>
                <c:pt idx="104">
                  <c:v>6212.77</c:v>
                </c:pt>
                <c:pt idx="105">
                  <c:v>6156.4570000000003</c:v>
                </c:pt>
                <c:pt idx="106">
                  <c:v>6132.9330000000009</c:v>
                </c:pt>
                <c:pt idx="107">
                  <c:v>5449.01</c:v>
                </c:pt>
                <c:pt idx="108">
                  <c:v>5347.6270000000004</c:v>
                </c:pt>
                <c:pt idx="109">
                  <c:v>5305.5169999999998</c:v>
                </c:pt>
                <c:pt idx="110">
                  <c:v>6320.4369999999999</c:v>
                </c:pt>
                <c:pt idx="111">
                  <c:v>4955.3029999999999</c:v>
                </c:pt>
                <c:pt idx="112">
                  <c:v>4837.8109999999997</c:v>
                </c:pt>
                <c:pt idx="113">
                  <c:v>9033.6029999999992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9804.9979999999996</c:v>
                </c:pt>
                <c:pt idx="128">
                  <c:v>6897.9979999999996</c:v>
                </c:pt>
                <c:pt idx="129">
                  <c:v>6327.9979999999996</c:v>
                </c:pt>
                <c:pt idx="130">
                  <c:v>6385.9979999999996</c:v>
                </c:pt>
                <c:pt idx="131">
                  <c:v>5220.9979999999996</c:v>
                </c:pt>
                <c:pt idx="132">
                  <c:v>6421.9979999999996</c:v>
                </c:pt>
                <c:pt idx="133">
                  <c:v>5904.9979999999996</c:v>
                </c:pt>
                <c:pt idx="134">
                  <c:v>6488.9979999999996</c:v>
                </c:pt>
                <c:pt idx="135">
                  <c:v>6366.9979999999996</c:v>
                </c:pt>
                <c:pt idx="136">
                  <c:v>7445.2420000000002</c:v>
                </c:pt>
                <c:pt idx="137">
                  <c:v>9067.257999999999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9630.6710000000003</c:v>
                </c:pt>
                <c:pt idx="152">
                  <c:v>9264.3189999999995</c:v>
                </c:pt>
                <c:pt idx="153">
                  <c:v>9944.9509999999991</c:v>
                </c:pt>
                <c:pt idx="154">
                  <c:v>8800.5619999999999</c:v>
                </c:pt>
                <c:pt idx="155">
                  <c:v>7578.1389999999992</c:v>
                </c:pt>
                <c:pt idx="156">
                  <c:v>6409.2960000000003</c:v>
                </c:pt>
                <c:pt idx="157">
                  <c:v>7153.8860000000004</c:v>
                </c:pt>
                <c:pt idx="158">
                  <c:v>6548.3099999999995</c:v>
                </c:pt>
                <c:pt idx="159">
                  <c:v>8273.7119999999995</c:v>
                </c:pt>
                <c:pt idx="160">
                  <c:v>8221.2970000000005</c:v>
                </c:pt>
                <c:pt idx="161">
                  <c:v>9927.6970000000001</c:v>
                </c:pt>
                <c:pt idx="162">
                  <c:v>9123.8289999999997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3870776"/>
        <c:axId val="793874304"/>
      </c:lineChart>
      <c:catAx>
        <c:axId val="793870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3874304"/>
        <c:crosses val="autoZero"/>
        <c:auto val="1"/>
        <c:lblAlgn val="ctr"/>
        <c:lblOffset val="100"/>
        <c:noMultiLvlLbl val="0"/>
      </c:catAx>
      <c:valAx>
        <c:axId val="793874304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3870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CJC Targets Hourly MW for April Week</a:t>
            </a:r>
          </a:p>
        </c:rich>
      </c:tx>
      <c:layout>
        <c:manualLayout>
          <c:xMode val="edge"/>
          <c:yMode val="edge"/>
          <c:x val="0.1594028424299774"/>
          <c:y val="2.21929374471525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3455383705208"/>
          <c:y val="0.19998545226738207"/>
          <c:w val="0.82639774474876027"/>
          <c:h val="0.633885120531022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2</c:v>
                </c:pt>
                <c:pt idx="2">
                  <c:v>7345</c:v>
                </c:pt>
                <c:pt idx="3">
                  <c:v>7343</c:v>
                </c:pt>
                <c:pt idx="4">
                  <c:v>7342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</c:v>
                </c:pt>
                <c:pt idx="9">
                  <c:v>7350</c:v>
                </c:pt>
                <c:pt idx="10">
                  <c:v>7352</c:v>
                </c:pt>
                <c:pt idx="11">
                  <c:v>7342</c:v>
                </c:pt>
                <c:pt idx="12">
                  <c:v>7346</c:v>
                </c:pt>
                <c:pt idx="13">
                  <c:v>7348</c:v>
                </c:pt>
                <c:pt idx="14">
                  <c:v>7346</c:v>
                </c:pt>
                <c:pt idx="15">
                  <c:v>7345</c:v>
                </c:pt>
                <c:pt idx="16">
                  <c:v>7346</c:v>
                </c:pt>
                <c:pt idx="17">
                  <c:v>7339</c:v>
                </c:pt>
                <c:pt idx="18">
                  <c:v>7344</c:v>
                </c:pt>
                <c:pt idx="19">
                  <c:v>7341</c:v>
                </c:pt>
                <c:pt idx="20">
                  <c:v>7345</c:v>
                </c:pt>
                <c:pt idx="21">
                  <c:v>7339</c:v>
                </c:pt>
                <c:pt idx="22">
                  <c:v>7344</c:v>
                </c:pt>
                <c:pt idx="23">
                  <c:v>7337</c:v>
                </c:pt>
                <c:pt idx="24">
                  <c:v>7343</c:v>
                </c:pt>
                <c:pt idx="25">
                  <c:v>7337</c:v>
                </c:pt>
                <c:pt idx="26">
                  <c:v>7350</c:v>
                </c:pt>
                <c:pt idx="27">
                  <c:v>7345</c:v>
                </c:pt>
                <c:pt idx="28">
                  <c:v>7345</c:v>
                </c:pt>
                <c:pt idx="29">
                  <c:v>7343</c:v>
                </c:pt>
                <c:pt idx="30">
                  <c:v>7344</c:v>
                </c:pt>
                <c:pt idx="31">
                  <c:v>7348</c:v>
                </c:pt>
                <c:pt idx="32">
                  <c:v>7347</c:v>
                </c:pt>
                <c:pt idx="33">
                  <c:v>7346</c:v>
                </c:pt>
                <c:pt idx="34">
                  <c:v>7350</c:v>
                </c:pt>
                <c:pt idx="35">
                  <c:v>7345</c:v>
                </c:pt>
                <c:pt idx="36">
                  <c:v>7348</c:v>
                </c:pt>
                <c:pt idx="37">
                  <c:v>7347</c:v>
                </c:pt>
                <c:pt idx="38">
                  <c:v>7350</c:v>
                </c:pt>
                <c:pt idx="39">
                  <c:v>7348</c:v>
                </c:pt>
                <c:pt idx="40">
                  <c:v>7349</c:v>
                </c:pt>
                <c:pt idx="41">
                  <c:v>7351</c:v>
                </c:pt>
                <c:pt idx="42">
                  <c:v>7344</c:v>
                </c:pt>
                <c:pt idx="43">
                  <c:v>7352</c:v>
                </c:pt>
                <c:pt idx="44">
                  <c:v>7351</c:v>
                </c:pt>
                <c:pt idx="45">
                  <c:v>7352</c:v>
                </c:pt>
                <c:pt idx="46">
                  <c:v>7352</c:v>
                </c:pt>
                <c:pt idx="47">
                  <c:v>7355</c:v>
                </c:pt>
                <c:pt idx="48">
                  <c:v>7350</c:v>
                </c:pt>
                <c:pt idx="49">
                  <c:v>7354</c:v>
                </c:pt>
                <c:pt idx="50">
                  <c:v>7349</c:v>
                </c:pt>
                <c:pt idx="51">
                  <c:v>7359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6</c:v>
                </c:pt>
                <c:pt idx="57">
                  <c:v>7358</c:v>
                </c:pt>
                <c:pt idx="58">
                  <c:v>7353</c:v>
                </c:pt>
                <c:pt idx="59">
                  <c:v>7360</c:v>
                </c:pt>
                <c:pt idx="60">
                  <c:v>7356</c:v>
                </c:pt>
                <c:pt idx="61">
                  <c:v>7350</c:v>
                </c:pt>
                <c:pt idx="62">
                  <c:v>7350</c:v>
                </c:pt>
                <c:pt idx="63">
                  <c:v>7356</c:v>
                </c:pt>
                <c:pt idx="64">
                  <c:v>7348</c:v>
                </c:pt>
                <c:pt idx="65">
                  <c:v>7353</c:v>
                </c:pt>
                <c:pt idx="66">
                  <c:v>7351</c:v>
                </c:pt>
                <c:pt idx="67">
                  <c:v>7350</c:v>
                </c:pt>
                <c:pt idx="68">
                  <c:v>7354</c:v>
                </c:pt>
                <c:pt idx="69">
                  <c:v>7356</c:v>
                </c:pt>
                <c:pt idx="70">
                  <c:v>7351</c:v>
                </c:pt>
                <c:pt idx="71">
                  <c:v>7356</c:v>
                </c:pt>
                <c:pt idx="72">
                  <c:v>7357</c:v>
                </c:pt>
                <c:pt idx="73">
                  <c:v>7354</c:v>
                </c:pt>
                <c:pt idx="74">
                  <c:v>7352</c:v>
                </c:pt>
                <c:pt idx="75">
                  <c:v>7353</c:v>
                </c:pt>
                <c:pt idx="76">
                  <c:v>7360</c:v>
                </c:pt>
                <c:pt idx="77">
                  <c:v>7354</c:v>
                </c:pt>
                <c:pt idx="78">
                  <c:v>7361</c:v>
                </c:pt>
                <c:pt idx="79">
                  <c:v>7354</c:v>
                </c:pt>
                <c:pt idx="80">
                  <c:v>7357</c:v>
                </c:pt>
                <c:pt idx="81">
                  <c:v>7351</c:v>
                </c:pt>
                <c:pt idx="82">
                  <c:v>7358</c:v>
                </c:pt>
                <c:pt idx="83">
                  <c:v>7350</c:v>
                </c:pt>
                <c:pt idx="84">
                  <c:v>7362</c:v>
                </c:pt>
                <c:pt idx="85">
                  <c:v>7358</c:v>
                </c:pt>
                <c:pt idx="86">
                  <c:v>7353</c:v>
                </c:pt>
                <c:pt idx="87">
                  <c:v>7354</c:v>
                </c:pt>
                <c:pt idx="88">
                  <c:v>7360</c:v>
                </c:pt>
                <c:pt idx="89">
                  <c:v>7360</c:v>
                </c:pt>
                <c:pt idx="90">
                  <c:v>7361</c:v>
                </c:pt>
                <c:pt idx="91">
                  <c:v>7356</c:v>
                </c:pt>
                <c:pt idx="92">
                  <c:v>7358</c:v>
                </c:pt>
                <c:pt idx="93">
                  <c:v>7360</c:v>
                </c:pt>
                <c:pt idx="94">
                  <c:v>7357</c:v>
                </c:pt>
                <c:pt idx="95">
                  <c:v>7357</c:v>
                </c:pt>
                <c:pt idx="96">
                  <c:v>7362</c:v>
                </c:pt>
                <c:pt idx="97">
                  <c:v>7358</c:v>
                </c:pt>
                <c:pt idx="98">
                  <c:v>7358</c:v>
                </c:pt>
                <c:pt idx="99">
                  <c:v>7357</c:v>
                </c:pt>
                <c:pt idx="100">
                  <c:v>7356</c:v>
                </c:pt>
                <c:pt idx="101">
                  <c:v>7359</c:v>
                </c:pt>
                <c:pt idx="102">
                  <c:v>7361</c:v>
                </c:pt>
                <c:pt idx="103">
                  <c:v>7358</c:v>
                </c:pt>
                <c:pt idx="104">
                  <c:v>7356</c:v>
                </c:pt>
                <c:pt idx="105">
                  <c:v>7362</c:v>
                </c:pt>
                <c:pt idx="106">
                  <c:v>7361</c:v>
                </c:pt>
                <c:pt idx="107">
                  <c:v>7356</c:v>
                </c:pt>
                <c:pt idx="108">
                  <c:v>7350</c:v>
                </c:pt>
                <c:pt idx="109">
                  <c:v>7357</c:v>
                </c:pt>
                <c:pt idx="110">
                  <c:v>7355</c:v>
                </c:pt>
                <c:pt idx="111">
                  <c:v>7352</c:v>
                </c:pt>
                <c:pt idx="112">
                  <c:v>7354</c:v>
                </c:pt>
                <c:pt idx="113">
                  <c:v>7352</c:v>
                </c:pt>
                <c:pt idx="114">
                  <c:v>7356</c:v>
                </c:pt>
                <c:pt idx="115">
                  <c:v>7356</c:v>
                </c:pt>
                <c:pt idx="116">
                  <c:v>7348</c:v>
                </c:pt>
                <c:pt idx="117">
                  <c:v>7356</c:v>
                </c:pt>
                <c:pt idx="118">
                  <c:v>7344</c:v>
                </c:pt>
                <c:pt idx="119">
                  <c:v>7355</c:v>
                </c:pt>
                <c:pt idx="120">
                  <c:v>7352</c:v>
                </c:pt>
                <c:pt idx="121">
                  <c:v>7353</c:v>
                </c:pt>
                <c:pt idx="122">
                  <c:v>7351</c:v>
                </c:pt>
                <c:pt idx="123">
                  <c:v>7353</c:v>
                </c:pt>
                <c:pt idx="124">
                  <c:v>7352</c:v>
                </c:pt>
                <c:pt idx="125">
                  <c:v>7354</c:v>
                </c:pt>
                <c:pt idx="126">
                  <c:v>7350</c:v>
                </c:pt>
                <c:pt idx="127">
                  <c:v>7352</c:v>
                </c:pt>
                <c:pt idx="128">
                  <c:v>7346</c:v>
                </c:pt>
                <c:pt idx="129">
                  <c:v>7347</c:v>
                </c:pt>
                <c:pt idx="130">
                  <c:v>7344</c:v>
                </c:pt>
                <c:pt idx="131">
                  <c:v>7343</c:v>
                </c:pt>
                <c:pt idx="132">
                  <c:v>7339</c:v>
                </c:pt>
                <c:pt idx="133">
                  <c:v>7339</c:v>
                </c:pt>
                <c:pt idx="134">
                  <c:v>7339</c:v>
                </c:pt>
                <c:pt idx="135">
                  <c:v>7337</c:v>
                </c:pt>
                <c:pt idx="136">
                  <c:v>7332</c:v>
                </c:pt>
                <c:pt idx="137">
                  <c:v>7334</c:v>
                </c:pt>
                <c:pt idx="138">
                  <c:v>7337</c:v>
                </c:pt>
                <c:pt idx="139">
                  <c:v>7339</c:v>
                </c:pt>
                <c:pt idx="140">
                  <c:v>7343</c:v>
                </c:pt>
                <c:pt idx="141">
                  <c:v>7340</c:v>
                </c:pt>
                <c:pt idx="142">
                  <c:v>7340</c:v>
                </c:pt>
                <c:pt idx="143">
                  <c:v>7344</c:v>
                </c:pt>
                <c:pt idx="144">
                  <c:v>7348</c:v>
                </c:pt>
                <c:pt idx="145">
                  <c:v>7349</c:v>
                </c:pt>
                <c:pt idx="146">
                  <c:v>7341</c:v>
                </c:pt>
                <c:pt idx="147">
                  <c:v>7341</c:v>
                </c:pt>
                <c:pt idx="148">
                  <c:v>7345</c:v>
                </c:pt>
                <c:pt idx="149">
                  <c:v>7344</c:v>
                </c:pt>
                <c:pt idx="150">
                  <c:v>7340</c:v>
                </c:pt>
                <c:pt idx="151">
                  <c:v>7338</c:v>
                </c:pt>
                <c:pt idx="152">
                  <c:v>7340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</c:v>
                </c:pt>
                <c:pt idx="157">
                  <c:v>7327</c:v>
                </c:pt>
                <c:pt idx="158">
                  <c:v>7326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</c:v>
                </c:pt>
                <c:pt idx="164">
                  <c:v>7320</c:v>
                </c:pt>
                <c:pt idx="165">
                  <c:v>7316</c:v>
                </c:pt>
                <c:pt idx="166">
                  <c:v>7321</c:v>
                </c:pt>
                <c:pt idx="167">
                  <c:v>7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15-4A4A-B116-48867BB5BB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 formatCode="_(* #,##0_);_(* \(#,##0\);_(* &quot;-&quot;??_);_(@_)">
                  <c:v>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615-4A4A-B116-48867BB5BB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D$2:$D$169</c:f>
              <c:numCache>
                <c:formatCode>#,##0</c:formatCode>
                <c:ptCount val="168"/>
                <c:pt idx="0">
                  <c:v>3295.59</c:v>
                </c:pt>
                <c:pt idx="1">
                  <c:v>3299.1970000000001</c:v>
                </c:pt>
                <c:pt idx="2">
                  <c:v>3273.0219999999999</c:v>
                </c:pt>
                <c:pt idx="3">
                  <c:v>3279.9009999999998</c:v>
                </c:pt>
                <c:pt idx="4">
                  <c:v>3290.9090000000001</c:v>
                </c:pt>
                <c:pt idx="5">
                  <c:v>3333.3249999999998</c:v>
                </c:pt>
                <c:pt idx="6">
                  <c:v>3369.96</c:v>
                </c:pt>
                <c:pt idx="7">
                  <c:v>3392.1959999999999</c:v>
                </c:pt>
                <c:pt idx="8">
                  <c:v>3419.6660000000002</c:v>
                </c:pt>
                <c:pt idx="9">
                  <c:v>3287.6619999999998</c:v>
                </c:pt>
                <c:pt idx="10">
                  <c:v>3143.4470000000001</c:v>
                </c:pt>
                <c:pt idx="11">
                  <c:v>3060.3270000000002</c:v>
                </c:pt>
                <c:pt idx="12">
                  <c:v>3059.0639999999999</c:v>
                </c:pt>
                <c:pt idx="13">
                  <c:v>2846.788</c:v>
                </c:pt>
                <c:pt idx="14">
                  <c:v>2665.79</c:v>
                </c:pt>
                <c:pt idx="15">
                  <c:v>2777.2280000000001</c:v>
                </c:pt>
                <c:pt idx="16">
                  <c:v>2798.4450000000002</c:v>
                </c:pt>
                <c:pt idx="17">
                  <c:v>2786.9690000000001</c:v>
                </c:pt>
                <c:pt idx="18">
                  <c:v>2826.25</c:v>
                </c:pt>
                <c:pt idx="19">
                  <c:v>2694.68</c:v>
                </c:pt>
                <c:pt idx="20">
                  <c:v>2872.0909999999999</c:v>
                </c:pt>
                <c:pt idx="21">
                  <c:v>3058.3809999999999</c:v>
                </c:pt>
                <c:pt idx="22">
                  <c:v>3009.2440000000001</c:v>
                </c:pt>
                <c:pt idx="23">
                  <c:v>2656.7159999999999</c:v>
                </c:pt>
                <c:pt idx="24">
                  <c:v>2227.6060000000002</c:v>
                </c:pt>
                <c:pt idx="25">
                  <c:v>2436.1779999999999</c:v>
                </c:pt>
                <c:pt idx="26">
                  <c:v>2638.07</c:v>
                </c:pt>
                <c:pt idx="27">
                  <c:v>2268.5630000000001</c:v>
                </c:pt>
                <c:pt idx="28">
                  <c:v>2399.9009999999998</c:v>
                </c:pt>
                <c:pt idx="29">
                  <c:v>2673.8150000000001</c:v>
                </c:pt>
                <c:pt idx="30">
                  <c:v>2920.3319999999999</c:v>
                </c:pt>
                <c:pt idx="31">
                  <c:v>3122.8359999999998</c:v>
                </c:pt>
                <c:pt idx="32">
                  <c:v>3439.1860000000001</c:v>
                </c:pt>
                <c:pt idx="33">
                  <c:v>3500.2669999999998</c:v>
                </c:pt>
                <c:pt idx="34">
                  <c:v>3523.9259999999999</c:v>
                </c:pt>
                <c:pt idx="35">
                  <c:v>3522.4920000000002</c:v>
                </c:pt>
                <c:pt idx="36">
                  <c:v>3530.4360000000001</c:v>
                </c:pt>
                <c:pt idx="37">
                  <c:v>3515.0889999999999</c:v>
                </c:pt>
                <c:pt idx="38">
                  <c:v>3514.5149999999999</c:v>
                </c:pt>
                <c:pt idx="39">
                  <c:v>3515.9580000000001</c:v>
                </c:pt>
                <c:pt idx="40">
                  <c:v>3524.42</c:v>
                </c:pt>
                <c:pt idx="41">
                  <c:v>3503.4830000000002</c:v>
                </c:pt>
                <c:pt idx="42">
                  <c:v>3397.9209999999998</c:v>
                </c:pt>
                <c:pt idx="43">
                  <c:v>2758.24</c:v>
                </c:pt>
                <c:pt idx="44">
                  <c:v>2031.307</c:v>
                </c:pt>
                <c:pt idx="45">
                  <c:v>1866.107</c:v>
                </c:pt>
                <c:pt idx="46">
                  <c:v>1490.28</c:v>
                </c:pt>
                <c:pt idx="47">
                  <c:v>1363.8589999999999</c:v>
                </c:pt>
                <c:pt idx="48">
                  <c:v>1349.865</c:v>
                </c:pt>
                <c:pt idx="49">
                  <c:v>1457.5820000000001</c:v>
                </c:pt>
                <c:pt idx="50">
                  <c:v>1678.4839999999999</c:v>
                </c:pt>
                <c:pt idx="51">
                  <c:v>1919.296</c:v>
                </c:pt>
                <c:pt idx="52">
                  <c:v>1745.2840000000001</c:v>
                </c:pt>
                <c:pt idx="53">
                  <c:v>1556.327</c:v>
                </c:pt>
                <c:pt idx="54">
                  <c:v>1450.8520000000001</c:v>
                </c:pt>
                <c:pt idx="55">
                  <c:v>1167.3230000000001</c:v>
                </c:pt>
                <c:pt idx="56">
                  <c:v>869.78499999999997</c:v>
                </c:pt>
                <c:pt idx="57">
                  <c:v>1161.558</c:v>
                </c:pt>
                <c:pt idx="58">
                  <c:v>1026.712</c:v>
                </c:pt>
                <c:pt idx="59">
                  <c:v>955.81399999999996</c:v>
                </c:pt>
                <c:pt idx="60">
                  <c:v>1159.3240000000001</c:v>
                </c:pt>
                <c:pt idx="61">
                  <c:v>1180.826</c:v>
                </c:pt>
                <c:pt idx="62">
                  <c:v>958.27300000000002</c:v>
                </c:pt>
                <c:pt idx="63">
                  <c:v>764.36300000000006</c:v>
                </c:pt>
                <c:pt idx="64">
                  <c:v>631.58699999999999</c:v>
                </c:pt>
                <c:pt idx="65">
                  <c:v>424.28</c:v>
                </c:pt>
                <c:pt idx="66">
                  <c:v>625.678</c:v>
                </c:pt>
                <c:pt idx="67">
                  <c:v>827.20399999999995</c:v>
                </c:pt>
                <c:pt idx="68">
                  <c:v>1143.6569999999999</c:v>
                </c:pt>
                <c:pt idx="69">
                  <c:v>1824.2280000000001</c:v>
                </c:pt>
                <c:pt idx="70">
                  <c:v>1889.7829999999999</c:v>
                </c:pt>
                <c:pt idx="71">
                  <c:v>1685.742</c:v>
                </c:pt>
                <c:pt idx="72">
                  <c:v>2055.6379999999999</c:v>
                </c:pt>
                <c:pt idx="73">
                  <c:v>2150.2809999999999</c:v>
                </c:pt>
                <c:pt idx="74">
                  <c:v>2874.192</c:v>
                </c:pt>
                <c:pt idx="75">
                  <c:v>3284.5160000000001</c:v>
                </c:pt>
                <c:pt idx="76">
                  <c:v>3163.44</c:v>
                </c:pt>
                <c:pt idx="77">
                  <c:v>3060.0160000000001</c:v>
                </c:pt>
                <c:pt idx="78">
                  <c:v>2860.06</c:v>
                </c:pt>
                <c:pt idx="79">
                  <c:v>2940.1179999999999</c:v>
                </c:pt>
                <c:pt idx="80">
                  <c:v>3171.3130000000001</c:v>
                </c:pt>
                <c:pt idx="81">
                  <c:v>3270.3969999999999</c:v>
                </c:pt>
                <c:pt idx="82">
                  <c:v>3211.308</c:v>
                </c:pt>
                <c:pt idx="83">
                  <c:v>3204.6709999999998</c:v>
                </c:pt>
                <c:pt idx="84">
                  <c:v>3235.8939999999998</c:v>
                </c:pt>
                <c:pt idx="85">
                  <c:v>3287.3310000000001</c:v>
                </c:pt>
                <c:pt idx="86">
                  <c:v>3309.8580000000002</c:v>
                </c:pt>
                <c:pt idx="87">
                  <c:v>3223.098</c:v>
                </c:pt>
                <c:pt idx="88">
                  <c:v>3006.8870000000002</c:v>
                </c:pt>
                <c:pt idx="89">
                  <c:v>2659.5639999999999</c:v>
                </c:pt>
                <c:pt idx="90">
                  <c:v>2592.75</c:v>
                </c:pt>
                <c:pt idx="91">
                  <c:v>2344.2809999999999</c:v>
                </c:pt>
                <c:pt idx="92">
                  <c:v>1775.722</c:v>
                </c:pt>
                <c:pt idx="93">
                  <c:v>1570.816</c:v>
                </c:pt>
                <c:pt idx="94">
                  <c:v>1436.942</c:v>
                </c:pt>
                <c:pt idx="95">
                  <c:v>1284.98</c:v>
                </c:pt>
                <c:pt idx="96">
                  <c:v>1181.2349999999999</c:v>
                </c:pt>
                <c:pt idx="97">
                  <c:v>1194.3969999999999</c:v>
                </c:pt>
                <c:pt idx="98">
                  <c:v>1205.9839999999999</c:v>
                </c:pt>
                <c:pt idx="99">
                  <c:v>1019.899</c:v>
                </c:pt>
                <c:pt idx="100">
                  <c:v>828.21799999999996</c:v>
                </c:pt>
                <c:pt idx="101">
                  <c:v>804.82299999999998</c:v>
                </c:pt>
                <c:pt idx="102">
                  <c:v>617.16899999999998</c:v>
                </c:pt>
                <c:pt idx="103">
                  <c:v>385.089</c:v>
                </c:pt>
                <c:pt idx="104">
                  <c:v>188.90100000000001</c:v>
                </c:pt>
                <c:pt idx="105">
                  <c:v>209.304</c:v>
                </c:pt>
                <c:pt idx="106">
                  <c:v>320.88799999999998</c:v>
                </c:pt>
                <c:pt idx="107">
                  <c:v>397.90100000000001</c:v>
                </c:pt>
                <c:pt idx="108">
                  <c:v>368.40600000000001</c:v>
                </c:pt>
                <c:pt idx="109">
                  <c:v>524.17700000000002</c:v>
                </c:pt>
                <c:pt idx="110">
                  <c:v>772.94799999999998</c:v>
                </c:pt>
                <c:pt idx="111">
                  <c:v>1192.9079999999999</c:v>
                </c:pt>
                <c:pt idx="112">
                  <c:v>1537.499</c:v>
                </c:pt>
                <c:pt idx="113">
                  <c:v>1993.1130000000001</c:v>
                </c:pt>
                <c:pt idx="114">
                  <c:v>2345.8069999999998</c:v>
                </c:pt>
                <c:pt idx="115">
                  <c:v>2600.3420000000001</c:v>
                </c:pt>
                <c:pt idx="116">
                  <c:v>2827.7370000000001</c:v>
                </c:pt>
                <c:pt idx="117">
                  <c:v>3120.0590000000002</c:v>
                </c:pt>
                <c:pt idx="118">
                  <c:v>3267.49</c:v>
                </c:pt>
                <c:pt idx="119">
                  <c:v>3358.163</c:v>
                </c:pt>
                <c:pt idx="120">
                  <c:v>3436.0450000000001</c:v>
                </c:pt>
                <c:pt idx="121">
                  <c:v>3412.0509999999999</c:v>
                </c:pt>
                <c:pt idx="122">
                  <c:v>3390.99</c:v>
                </c:pt>
                <c:pt idx="123">
                  <c:v>3314.049</c:v>
                </c:pt>
                <c:pt idx="124">
                  <c:v>3250.1419999999998</c:v>
                </c:pt>
                <c:pt idx="125">
                  <c:v>3195.1550000000002</c:v>
                </c:pt>
                <c:pt idx="126">
                  <c:v>3114.9</c:v>
                </c:pt>
                <c:pt idx="127">
                  <c:v>2999.0819999999999</c:v>
                </c:pt>
                <c:pt idx="128">
                  <c:v>2615.0120000000002</c:v>
                </c:pt>
                <c:pt idx="129">
                  <c:v>2316.0940000000001</c:v>
                </c:pt>
                <c:pt idx="130">
                  <c:v>2129.0859999999998</c:v>
                </c:pt>
                <c:pt idx="131">
                  <c:v>1846.0940000000001</c:v>
                </c:pt>
                <c:pt idx="132">
                  <c:v>1339.01</c:v>
                </c:pt>
                <c:pt idx="133">
                  <c:v>970.11599999999999</c:v>
                </c:pt>
                <c:pt idx="134">
                  <c:v>884.03300000000002</c:v>
                </c:pt>
                <c:pt idx="135">
                  <c:v>950.01499999999999</c:v>
                </c:pt>
                <c:pt idx="136">
                  <c:v>882.19799999999998</c:v>
                </c:pt>
                <c:pt idx="137">
                  <c:v>623.12</c:v>
                </c:pt>
                <c:pt idx="138">
                  <c:v>398.85899999999998</c:v>
                </c:pt>
                <c:pt idx="139">
                  <c:v>338</c:v>
                </c:pt>
                <c:pt idx="140">
                  <c:v>592</c:v>
                </c:pt>
                <c:pt idx="141">
                  <c:v>1092.8989999999999</c:v>
                </c:pt>
                <c:pt idx="142">
                  <c:v>1717.155</c:v>
                </c:pt>
                <c:pt idx="143">
                  <c:v>1826.364</c:v>
                </c:pt>
                <c:pt idx="144">
                  <c:v>1899.2049999999999</c:v>
                </c:pt>
                <c:pt idx="145">
                  <c:v>1890.268</c:v>
                </c:pt>
                <c:pt idx="146">
                  <c:v>1834.5540000000001</c:v>
                </c:pt>
                <c:pt idx="147">
                  <c:v>1689.69</c:v>
                </c:pt>
                <c:pt idx="148">
                  <c:v>1438.914</c:v>
                </c:pt>
                <c:pt idx="149">
                  <c:v>1185.664</c:v>
                </c:pt>
                <c:pt idx="150">
                  <c:v>1348.85</c:v>
                </c:pt>
                <c:pt idx="151">
                  <c:v>1386.356</c:v>
                </c:pt>
                <c:pt idx="152">
                  <c:v>1256.068</c:v>
                </c:pt>
                <c:pt idx="153">
                  <c:v>1032.7449999999999</c:v>
                </c:pt>
                <c:pt idx="154">
                  <c:v>1191.3869999999999</c:v>
                </c:pt>
                <c:pt idx="155">
                  <c:v>1498.8019999999999</c:v>
                </c:pt>
                <c:pt idx="156">
                  <c:v>1506.9760000000001</c:v>
                </c:pt>
                <c:pt idx="157">
                  <c:v>2250.8490000000002</c:v>
                </c:pt>
                <c:pt idx="158">
                  <c:v>3082.8389999999999</c:v>
                </c:pt>
                <c:pt idx="159">
                  <c:v>3209.3110000000001</c:v>
                </c:pt>
                <c:pt idx="160">
                  <c:v>3294.0819999999999</c:v>
                </c:pt>
                <c:pt idx="161">
                  <c:v>3335.527</c:v>
                </c:pt>
                <c:pt idx="162">
                  <c:v>3237.366</c:v>
                </c:pt>
                <c:pt idx="163">
                  <c:v>3418.7710000000002</c:v>
                </c:pt>
                <c:pt idx="164">
                  <c:v>3485.357</c:v>
                </c:pt>
                <c:pt idx="165">
                  <c:v>3391.5540000000001</c:v>
                </c:pt>
                <c:pt idx="166">
                  <c:v>3152.1970000000001</c:v>
                </c:pt>
                <c:pt idx="167" formatCode="_(* #,##0_);_(* \(#,##0\);_(* &quot;-&quot;??_);_(@_)">
                  <c:v>2764.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15-4A4A-B116-48867BB5BB2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E$2:$E$169</c:f>
              <c:numCache>
                <c:formatCode>_(* #,##0_);_(* \(#,##0\);_(* "-"??_);_(@_)</c:formatCode>
                <c:ptCount val="168"/>
                <c:pt idx="0">
                  <c:v>4707.9857142857145</c:v>
                </c:pt>
                <c:pt idx="1">
                  <c:v>4713.1385714285716</c:v>
                </c:pt>
                <c:pt idx="2">
                  <c:v>4675.7457142857147</c:v>
                </c:pt>
                <c:pt idx="3">
                  <c:v>4685.5728571428572</c:v>
                </c:pt>
                <c:pt idx="4">
                  <c:v>4701.2985714285714</c:v>
                </c:pt>
                <c:pt idx="5">
                  <c:v>4761.8928571428569</c:v>
                </c:pt>
                <c:pt idx="6">
                  <c:v>4814.2285714285717</c:v>
                </c:pt>
                <c:pt idx="7">
                  <c:v>4845.9942857142851</c:v>
                </c:pt>
                <c:pt idx="8">
                  <c:v>4885.2371428571432</c:v>
                </c:pt>
                <c:pt idx="9">
                  <c:v>4696.66</c:v>
                </c:pt>
                <c:pt idx="10">
                  <c:v>4490.6385714285716</c:v>
                </c:pt>
                <c:pt idx="11">
                  <c:v>4371.8957142857153</c:v>
                </c:pt>
                <c:pt idx="12">
                  <c:v>4370.091428571428</c:v>
                </c:pt>
                <c:pt idx="13">
                  <c:v>4066.8399999999997</c:v>
                </c:pt>
                <c:pt idx="14">
                  <c:v>3808.2714285714283</c:v>
                </c:pt>
                <c:pt idx="15">
                  <c:v>3967.4685714285715</c:v>
                </c:pt>
                <c:pt idx="16">
                  <c:v>3997.7785714285715</c:v>
                </c:pt>
                <c:pt idx="17">
                  <c:v>3981.3842857142854</c:v>
                </c:pt>
                <c:pt idx="18">
                  <c:v>4037.5</c:v>
                </c:pt>
                <c:pt idx="19">
                  <c:v>3849.542857142857</c:v>
                </c:pt>
                <c:pt idx="20">
                  <c:v>4102.9871428571423</c:v>
                </c:pt>
                <c:pt idx="21">
                  <c:v>4369.1157142857137</c:v>
                </c:pt>
                <c:pt idx="22">
                  <c:v>4298.92</c:v>
                </c:pt>
                <c:pt idx="23">
                  <c:v>3795.3085714285712</c:v>
                </c:pt>
                <c:pt idx="24">
                  <c:v>3182.2942857142866</c:v>
                </c:pt>
                <c:pt idx="25">
                  <c:v>3480.2542857142862</c:v>
                </c:pt>
                <c:pt idx="26">
                  <c:v>3768.6714285714284</c:v>
                </c:pt>
                <c:pt idx="27">
                  <c:v>3240.8042857142855</c:v>
                </c:pt>
                <c:pt idx="28">
                  <c:v>3428.4300000000003</c:v>
                </c:pt>
                <c:pt idx="29">
                  <c:v>3819.735714285714</c:v>
                </c:pt>
                <c:pt idx="30">
                  <c:v>4171.9028571428571</c:v>
                </c:pt>
                <c:pt idx="31">
                  <c:v>4461.1942857142858</c:v>
                </c:pt>
                <c:pt idx="32">
                  <c:v>4913.1228571428583</c:v>
                </c:pt>
                <c:pt idx="33">
                  <c:v>5000.3814285714288</c:v>
                </c:pt>
                <c:pt idx="34">
                  <c:v>5034.18</c:v>
                </c:pt>
                <c:pt idx="35">
                  <c:v>5032.1314285714288</c:v>
                </c:pt>
                <c:pt idx="36">
                  <c:v>5043.4799999999996</c:v>
                </c:pt>
                <c:pt idx="37">
                  <c:v>5021.5557142857142</c:v>
                </c:pt>
                <c:pt idx="38">
                  <c:v>5020.7357142857145</c:v>
                </c:pt>
                <c:pt idx="39">
                  <c:v>5022.7971428571418</c:v>
                </c:pt>
                <c:pt idx="40">
                  <c:v>5034.8857142857141</c:v>
                </c:pt>
                <c:pt idx="41">
                  <c:v>5004.9757142857143</c:v>
                </c:pt>
                <c:pt idx="42">
                  <c:v>4854.1728571428575</c:v>
                </c:pt>
                <c:pt idx="43">
                  <c:v>3940.3428571428576</c:v>
                </c:pt>
                <c:pt idx="44">
                  <c:v>2901.8671428571433</c:v>
                </c:pt>
                <c:pt idx="45">
                  <c:v>2665.8671428571433</c:v>
                </c:pt>
                <c:pt idx="46">
                  <c:v>2128.971428571429</c:v>
                </c:pt>
                <c:pt idx="47">
                  <c:v>1948.37</c:v>
                </c:pt>
                <c:pt idx="48">
                  <c:v>1928.3785714285716</c:v>
                </c:pt>
                <c:pt idx="49">
                  <c:v>2082.2600000000002</c:v>
                </c:pt>
                <c:pt idx="50">
                  <c:v>2397.8342857142857</c:v>
                </c:pt>
                <c:pt idx="51">
                  <c:v>2741.8514285714282</c:v>
                </c:pt>
                <c:pt idx="52">
                  <c:v>2493.2628571428572</c:v>
                </c:pt>
                <c:pt idx="53">
                  <c:v>2223.3242857142859</c:v>
                </c:pt>
                <c:pt idx="54">
                  <c:v>2072.6457142857143</c:v>
                </c:pt>
                <c:pt idx="55">
                  <c:v>1667.6042857142854</c:v>
                </c:pt>
                <c:pt idx="56">
                  <c:v>1242.5500000000002</c:v>
                </c:pt>
                <c:pt idx="57">
                  <c:v>1659.3685714285716</c:v>
                </c:pt>
                <c:pt idx="58">
                  <c:v>1466.7314285714288</c:v>
                </c:pt>
                <c:pt idx="59">
                  <c:v>1365.4485714285715</c:v>
                </c:pt>
                <c:pt idx="60">
                  <c:v>1656.1771428571428</c:v>
                </c:pt>
                <c:pt idx="61">
                  <c:v>1686.8942857142856</c:v>
                </c:pt>
                <c:pt idx="62">
                  <c:v>1368.9614285714283</c:v>
                </c:pt>
                <c:pt idx="63">
                  <c:v>1091.947142857143</c:v>
                </c:pt>
                <c:pt idx="64">
                  <c:v>902.26714285714297</c:v>
                </c:pt>
                <c:pt idx="65">
                  <c:v>606.11428571428564</c:v>
                </c:pt>
                <c:pt idx="66">
                  <c:v>893.8257142857143</c:v>
                </c:pt>
                <c:pt idx="67">
                  <c:v>1181.72</c:v>
                </c:pt>
                <c:pt idx="68">
                  <c:v>1633.7957142857142</c:v>
                </c:pt>
                <c:pt idx="69">
                  <c:v>2606.04</c:v>
                </c:pt>
                <c:pt idx="70">
                  <c:v>2699.69</c:v>
                </c:pt>
                <c:pt idx="71">
                  <c:v>2408.2028571428573</c:v>
                </c:pt>
                <c:pt idx="72">
                  <c:v>2936.6257142857139</c:v>
                </c:pt>
                <c:pt idx="73">
                  <c:v>3071.83</c:v>
                </c:pt>
                <c:pt idx="74">
                  <c:v>4105.988571428571</c:v>
                </c:pt>
                <c:pt idx="75">
                  <c:v>4692.1657142857148</c:v>
                </c:pt>
                <c:pt idx="76">
                  <c:v>4519.2000000000007</c:v>
                </c:pt>
                <c:pt idx="77">
                  <c:v>4371.4514285714286</c:v>
                </c:pt>
                <c:pt idx="78">
                  <c:v>4085.7999999999997</c:v>
                </c:pt>
                <c:pt idx="79">
                  <c:v>4200.1685714285722</c:v>
                </c:pt>
                <c:pt idx="80">
                  <c:v>4530.4471428571424</c:v>
                </c:pt>
                <c:pt idx="81">
                  <c:v>4671.9957142857147</c:v>
                </c:pt>
                <c:pt idx="82">
                  <c:v>4587.5828571428574</c:v>
                </c:pt>
                <c:pt idx="83">
                  <c:v>4578.1014285714282</c:v>
                </c:pt>
                <c:pt idx="84">
                  <c:v>4622.7057142857138</c:v>
                </c:pt>
                <c:pt idx="85">
                  <c:v>4696.187142857143</c:v>
                </c:pt>
                <c:pt idx="86">
                  <c:v>4728.3685714285712</c:v>
                </c:pt>
                <c:pt idx="87">
                  <c:v>4604.4257142857141</c:v>
                </c:pt>
                <c:pt idx="88">
                  <c:v>4295.5528571428567</c:v>
                </c:pt>
                <c:pt idx="89">
                  <c:v>3799.3771428571431</c:v>
                </c:pt>
                <c:pt idx="90">
                  <c:v>3703.9285714285716</c:v>
                </c:pt>
                <c:pt idx="91">
                  <c:v>3348.9728571428568</c:v>
                </c:pt>
                <c:pt idx="92">
                  <c:v>2536.7457142857147</c:v>
                </c:pt>
                <c:pt idx="93">
                  <c:v>2244.022857142857</c:v>
                </c:pt>
                <c:pt idx="94">
                  <c:v>2052.7742857142857</c:v>
                </c:pt>
                <c:pt idx="95">
                  <c:v>1835.6857142857143</c:v>
                </c:pt>
                <c:pt idx="96">
                  <c:v>1687.4785714285715</c:v>
                </c:pt>
                <c:pt idx="97">
                  <c:v>1706.2814285714285</c:v>
                </c:pt>
                <c:pt idx="98">
                  <c:v>1722.8342857142857</c:v>
                </c:pt>
                <c:pt idx="99">
                  <c:v>1456.9985714285717</c:v>
                </c:pt>
                <c:pt idx="100">
                  <c:v>1183.1685714285713</c:v>
                </c:pt>
                <c:pt idx="101">
                  <c:v>1149.747142857143</c:v>
                </c:pt>
                <c:pt idx="102">
                  <c:v>881.67</c:v>
                </c:pt>
                <c:pt idx="103">
                  <c:v>550.12714285714287</c:v>
                </c:pt>
                <c:pt idx="104">
                  <c:v>269.85857142857139</c:v>
                </c:pt>
                <c:pt idx="105">
                  <c:v>299.00571428571425</c:v>
                </c:pt>
                <c:pt idx="106">
                  <c:v>458.41142857142864</c:v>
                </c:pt>
                <c:pt idx="107">
                  <c:v>568.43000000000006</c:v>
                </c:pt>
                <c:pt idx="108">
                  <c:v>526.29428571428571</c:v>
                </c:pt>
                <c:pt idx="109">
                  <c:v>748.82428571428579</c:v>
                </c:pt>
                <c:pt idx="110">
                  <c:v>1104.2114285714288</c:v>
                </c:pt>
                <c:pt idx="111">
                  <c:v>1704.1542857142858</c:v>
                </c:pt>
                <c:pt idx="112">
                  <c:v>2196.4271428571428</c:v>
                </c:pt>
                <c:pt idx="113">
                  <c:v>2847.3042857142855</c:v>
                </c:pt>
                <c:pt idx="114">
                  <c:v>3351.1528571428571</c:v>
                </c:pt>
                <c:pt idx="115">
                  <c:v>3714.7742857142853</c:v>
                </c:pt>
                <c:pt idx="116">
                  <c:v>4039.6242857142861</c:v>
                </c:pt>
                <c:pt idx="117">
                  <c:v>4457.227142857143</c:v>
                </c:pt>
                <c:pt idx="118">
                  <c:v>4667.8428571428576</c:v>
                </c:pt>
                <c:pt idx="119">
                  <c:v>4797.3757142857139</c:v>
                </c:pt>
                <c:pt idx="120">
                  <c:v>4908.6357142857141</c:v>
                </c:pt>
                <c:pt idx="121">
                  <c:v>4874.3585714285728</c:v>
                </c:pt>
                <c:pt idx="122">
                  <c:v>4844.2714285714283</c:v>
                </c:pt>
                <c:pt idx="123">
                  <c:v>4734.3557142857144</c:v>
                </c:pt>
                <c:pt idx="124">
                  <c:v>4643.0600000000004</c:v>
                </c:pt>
                <c:pt idx="125">
                  <c:v>4564.5071428571428</c:v>
                </c:pt>
                <c:pt idx="126">
                  <c:v>4449.8571428571431</c:v>
                </c:pt>
                <c:pt idx="127">
                  <c:v>4284.4028571428571</c:v>
                </c:pt>
                <c:pt idx="128">
                  <c:v>3735.7314285714288</c:v>
                </c:pt>
                <c:pt idx="129">
                  <c:v>3308.7057142857138</c:v>
                </c:pt>
                <c:pt idx="130">
                  <c:v>3041.5514285714285</c:v>
                </c:pt>
                <c:pt idx="131">
                  <c:v>2637.2771428571432</c:v>
                </c:pt>
                <c:pt idx="132">
                  <c:v>1912.8714285714284</c:v>
                </c:pt>
                <c:pt idx="133">
                  <c:v>1385.88</c:v>
                </c:pt>
                <c:pt idx="134">
                  <c:v>1262.9042857142858</c:v>
                </c:pt>
                <c:pt idx="135">
                  <c:v>1357.1642857142861</c:v>
                </c:pt>
                <c:pt idx="136">
                  <c:v>1260.2828571428572</c:v>
                </c:pt>
                <c:pt idx="137">
                  <c:v>890.17142857142846</c:v>
                </c:pt>
                <c:pt idx="138">
                  <c:v>569.79857142857145</c:v>
                </c:pt>
                <c:pt idx="139">
                  <c:v>482.85714285714289</c:v>
                </c:pt>
                <c:pt idx="140">
                  <c:v>845.71428571428578</c:v>
                </c:pt>
                <c:pt idx="141">
                  <c:v>1561.2842857142855</c:v>
                </c:pt>
                <c:pt idx="142">
                  <c:v>2453.0785714285721</c:v>
                </c:pt>
                <c:pt idx="143">
                  <c:v>2609.0914285714284</c:v>
                </c:pt>
                <c:pt idx="144">
                  <c:v>2713.1499999999996</c:v>
                </c:pt>
                <c:pt idx="145">
                  <c:v>2700.3828571428567</c:v>
                </c:pt>
                <c:pt idx="146">
                  <c:v>2620.7914285714287</c:v>
                </c:pt>
                <c:pt idx="147">
                  <c:v>2413.8428571428572</c:v>
                </c:pt>
                <c:pt idx="148">
                  <c:v>2055.5914285714289</c:v>
                </c:pt>
                <c:pt idx="149">
                  <c:v>1693.8057142857144</c:v>
                </c:pt>
                <c:pt idx="150">
                  <c:v>1926.9285714285716</c:v>
                </c:pt>
                <c:pt idx="151">
                  <c:v>1980.5085714285713</c:v>
                </c:pt>
                <c:pt idx="152">
                  <c:v>1794.3828571428573</c:v>
                </c:pt>
                <c:pt idx="153">
                  <c:v>1475.35</c:v>
                </c:pt>
                <c:pt idx="154">
                  <c:v>1701.9814285714285</c:v>
                </c:pt>
                <c:pt idx="155">
                  <c:v>2141.1457142857143</c:v>
                </c:pt>
                <c:pt idx="156">
                  <c:v>2152.8228571428576</c:v>
                </c:pt>
                <c:pt idx="157">
                  <c:v>3215.4985714285713</c:v>
                </c:pt>
                <c:pt idx="158">
                  <c:v>4404.0557142857142</c:v>
                </c:pt>
                <c:pt idx="159">
                  <c:v>4584.7299999999996</c:v>
                </c:pt>
                <c:pt idx="160">
                  <c:v>4705.8314285714296</c:v>
                </c:pt>
                <c:pt idx="161">
                  <c:v>4765.0385714285712</c:v>
                </c:pt>
                <c:pt idx="162">
                  <c:v>4624.8085714285717</c:v>
                </c:pt>
                <c:pt idx="163">
                  <c:v>4883.9585714285713</c:v>
                </c:pt>
                <c:pt idx="164">
                  <c:v>4979.0814285714278</c:v>
                </c:pt>
                <c:pt idx="165">
                  <c:v>4845.0771428571425</c:v>
                </c:pt>
                <c:pt idx="166">
                  <c:v>4503.1385714285716</c:v>
                </c:pt>
                <c:pt idx="167">
                  <c:v>3611.0588741574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615-4A4A-B116-48867BB5BB2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600</c:v>
                </c:pt>
                <c:pt idx="7">
                  <c:v>600</c:v>
                </c:pt>
                <c:pt idx="8">
                  <c:v>1200</c:v>
                </c:pt>
                <c:pt idx="9">
                  <c:v>3000</c:v>
                </c:pt>
                <c:pt idx="10">
                  <c:v>3000</c:v>
                </c:pt>
                <c:pt idx="11">
                  <c:v>3000</c:v>
                </c:pt>
                <c:pt idx="12">
                  <c:v>3600</c:v>
                </c:pt>
                <c:pt idx="13">
                  <c:v>4200</c:v>
                </c:pt>
                <c:pt idx="14">
                  <c:v>4200</c:v>
                </c:pt>
                <c:pt idx="15">
                  <c:v>3000</c:v>
                </c:pt>
                <c:pt idx="16">
                  <c:v>600</c:v>
                </c:pt>
                <c:pt idx="17">
                  <c:v>60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4200</c:v>
                </c:pt>
                <c:pt idx="33">
                  <c:v>4800</c:v>
                </c:pt>
                <c:pt idx="34">
                  <c:v>4800</c:v>
                </c:pt>
                <c:pt idx="35">
                  <c:v>5400</c:v>
                </c:pt>
                <c:pt idx="36">
                  <c:v>4200</c:v>
                </c:pt>
                <c:pt idx="37">
                  <c:v>4800</c:v>
                </c:pt>
                <c:pt idx="38">
                  <c:v>4800</c:v>
                </c:pt>
                <c:pt idx="39">
                  <c:v>3000</c:v>
                </c:pt>
                <c:pt idx="40">
                  <c:v>2400</c:v>
                </c:pt>
                <c:pt idx="41">
                  <c:v>1200</c:v>
                </c:pt>
                <c:pt idx="42">
                  <c:v>120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1800</c:v>
                </c:pt>
                <c:pt idx="56">
                  <c:v>4200</c:v>
                </c:pt>
                <c:pt idx="57">
                  <c:v>3600</c:v>
                </c:pt>
                <c:pt idx="58">
                  <c:v>4200</c:v>
                </c:pt>
                <c:pt idx="59">
                  <c:v>5400</c:v>
                </c:pt>
                <c:pt idx="60">
                  <c:v>4200</c:v>
                </c:pt>
                <c:pt idx="61">
                  <c:v>5400</c:v>
                </c:pt>
                <c:pt idx="62">
                  <c:v>5400</c:v>
                </c:pt>
                <c:pt idx="63">
                  <c:v>4200</c:v>
                </c:pt>
                <c:pt idx="64">
                  <c:v>5400</c:v>
                </c:pt>
                <c:pt idx="65">
                  <c:v>3000</c:v>
                </c:pt>
                <c:pt idx="66">
                  <c:v>120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600</c:v>
                </c:pt>
                <c:pt idx="87">
                  <c:v>600</c:v>
                </c:pt>
                <c:pt idx="88">
                  <c:v>120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1800</c:v>
                </c:pt>
                <c:pt idx="104">
                  <c:v>4800</c:v>
                </c:pt>
                <c:pt idx="105">
                  <c:v>4800</c:v>
                </c:pt>
                <c:pt idx="106">
                  <c:v>4800</c:v>
                </c:pt>
                <c:pt idx="107">
                  <c:v>5400</c:v>
                </c:pt>
                <c:pt idx="108">
                  <c:v>5400</c:v>
                </c:pt>
                <c:pt idx="109">
                  <c:v>5400</c:v>
                </c:pt>
                <c:pt idx="110">
                  <c:v>4200</c:v>
                </c:pt>
                <c:pt idx="111">
                  <c:v>5400</c:v>
                </c:pt>
                <c:pt idx="112">
                  <c:v>5400</c:v>
                </c:pt>
                <c:pt idx="113">
                  <c:v>120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600</c:v>
                </c:pt>
                <c:pt idx="128">
                  <c:v>3600</c:v>
                </c:pt>
                <c:pt idx="129">
                  <c:v>4200</c:v>
                </c:pt>
                <c:pt idx="130">
                  <c:v>4200</c:v>
                </c:pt>
                <c:pt idx="131">
                  <c:v>5400</c:v>
                </c:pt>
                <c:pt idx="132">
                  <c:v>4200</c:v>
                </c:pt>
                <c:pt idx="133">
                  <c:v>4800</c:v>
                </c:pt>
                <c:pt idx="134">
                  <c:v>4200</c:v>
                </c:pt>
                <c:pt idx="135">
                  <c:v>4200</c:v>
                </c:pt>
                <c:pt idx="136">
                  <c:v>3000</c:v>
                </c:pt>
                <c:pt idx="137">
                  <c:v>120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600</c:v>
                </c:pt>
                <c:pt idx="152">
                  <c:v>1200</c:v>
                </c:pt>
                <c:pt idx="153">
                  <c:v>600</c:v>
                </c:pt>
                <c:pt idx="154">
                  <c:v>1800</c:v>
                </c:pt>
                <c:pt idx="155">
                  <c:v>3000</c:v>
                </c:pt>
                <c:pt idx="156">
                  <c:v>4200</c:v>
                </c:pt>
                <c:pt idx="157">
                  <c:v>3600</c:v>
                </c:pt>
                <c:pt idx="158">
                  <c:v>4200</c:v>
                </c:pt>
                <c:pt idx="159">
                  <c:v>2400</c:v>
                </c:pt>
                <c:pt idx="160">
                  <c:v>2400</c:v>
                </c:pt>
                <c:pt idx="161">
                  <c:v>600</c:v>
                </c:pt>
                <c:pt idx="162">
                  <c:v>120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 formatCode="_(* #,##0_);_(* \(#,##0\);_(* &quot;-&quot;??_);_(@_)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62626056"/>
        <c:axId val="862626840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615-4A4A-B116-48867BB5BB2F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57"/>
                <c:pt idx="10">
                  <c:v>Sunday</c:v>
                </c:pt>
                <c:pt idx="36">
                  <c:v>Monday</c:v>
                </c:pt>
                <c:pt idx="60">
                  <c:v>Tuesday</c:v>
                </c:pt>
                <c:pt idx="84">
                  <c:v>Wednesday</c:v>
                </c:pt>
                <c:pt idx="108">
                  <c:v>Thursday</c:v>
                </c:pt>
                <c:pt idx="132">
                  <c:v>Friday</c:v>
                </c:pt>
                <c:pt idx="156">
                  <c:v>Saturday</c:v>
                </c:pt>
              </c:strCache>
            </c:strRef>
          </c:cat>
          <c:val>
            <c:numRef>
              <c:f>Sheet1!$H$2:$H$169</c:f>
              <c:numCache>
                <c:formatCode>_(* #,##0_);_(* \(#,##0\);_(* "-"??_);_(@_)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039.062</c:v>
                </c:pt>
                <c:pt idx="7">
                  <c:v>10546.269</c:v>
                </c:pt>
                <c:pt idx="8">
                  <c:v>10086.681</c:v>
                </c:pt>
                <c:pt idx="9">
                  <c:v>8331.9830000000002</c:v>
                </c:pt>
                <c:pt idx="10">
                  <c:v>8211.4470000000001</c:v>
                </c:pt>
                <c:pt idx="11">
                  <c:v>8030.48</c:v>
                </c:pt>
                <c:pt idx="12">
                  <c:v>7365.3770000000004</c:v>
                </c:pt>
                <c:pt idx="13">
                  <c:v>6675.2170000000006</c:v>
                </c:pt>
                <c:pt idx="14">
                  <c:v>6482.2189999999991</c:v>
                </c:pt>
                <c:pt idx="15">
                  <c:v>7537.8349999999991</c:v>
                </c:pt>
                <c:pt idx="16">
                  <c:v>9863.7829999999994</c:v>
                </c:pt>
                <c:pt idx="17">
                  <c:v>9828.4390000000003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6503.4249999999993</c:v>
                </c:pt>
                <c:pt idx="33">
                  <c:v>5976.2350000000006</c:v>
                </c:pt>
                <c:pt idx="34">
                  <c:v>6040.2909999999993</c:v>
                </c:pt>
                <c:pt idx="35">
                  <c:v>5347.7939999999999</c:v>
                </c:pt>
                <c:pt idx="36">
                  <c:v>6468.6129999999994</c:v>
                </c:pt>
                <c:pt idx="37">
                  <c:v>5834.0400000000009</c:v>
                </c:pt>
                <c:pt idx="38">
                  <c:v>5689.7180000000008</c:v>
                </c:pt>
                <c:pt idx="39">
                  <c:v>7350.3379999999997</c:v>
                </c:pt>
                <c:pt idx="40">
                  <c:v>7912.652</c:v>
                </c:pt>
                <c:pt idx="41">
                  <c:v>9047.7980000000007</c:v>
                </c:pt>
                <c:pt idx="42">
                  <c:v>8970.1880000000001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7502.3490000000002</c:v>
                </c:pt>
                <c:pt idx="56">
                  <c:v>5291.866</c:v>
                </c:pt>
                <c:pt idx="57">
                  <c:v>5978.8940000000002</c:v>
                </c:pt>
                <c:pt idx="58">
                  <c:v>5353.7669999999998</c:v>
                </c:pt>
                <c:pt idx="59">
                  <c:v>4068.0349999999999</c:v>
                </c:pt>
                <c:pt idx="60">
                  <c:v>5097.616</c:v>
                </c:pt>
                <c:pt idx="61">
                  <c:v>3675.1260000000002</c:v>
                </c:pt>
                <c:pt idx="62">
                  <c:v>3517.5769999999993</c:v>
                </c:pt>
                <c:pt idx="63">
                  <c:v>4542.6650000000009</c:v>
                </c:pt>
                <c:pt idx="64">
                  <c:v>3315.9719999999998</c:v>
                </c:pt>
                <c:pt idx="65">
                  <c:v>5701.65</c:v>
                </c:pt>
                <c:pt idx="66">
                  <c:v>75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277.7160000000003</c:v>
                </c:pt>
                <c:pt idx="87">
                  <c:v>9166.1229999999996</c:v>
                </c:pt>
                <c:pt idx="88">
                  <c:v>86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9163.3130000000001</c:v>
                </c:pt>
                <c:pt idx="104">
                  <c:v>6212.77</c:v>
                </c:pt>
                <c:pt idx="105">
                  <c:v>6156.4570000000003</c:v>
                </c:pt>
                <c:pt idx="106">
                  <c:v>6132.9330000000009</c:v>
                </c:pt>
                <c:pt idx="107">
                  <c:v>5449.01</c:v>
                </c:pt>
                <c:pt idx="108">
                  <c:v>5347.6270000000004</c:v>
                </c:pt>
                <c:pt idx="109">
                  <c:v>5305.5169999999998</c:v>
                </c:pt>
                <c:pt idx="110">
                  <c:v>6320.4369999999999</c:v>
                </c:pt>
                <c:pt idx="111">
                  <c:v>4955.3029999999999</c:v>
                </c:pt>
                <c:pt idx="112">
                  <c:v>4837.8109999999997</c:v>
                </c:pt>
                <c:pt idx="113">
                  <c:v>9033.6029999999992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9804.9979999999996</c:v>
                </c:pt>
                <c:pt idx="128">
                  <c:v>6897.9979999999996</c:v>
                </c:pt>
                <c:pt idx="129">
                  <c:v>6327.9979999999996</c:v>
                </c:pt>
                <c:pt idx="130">
                  <c:v>6385.9979999999996</c:v>
                </c:pt>
                <c:pt idx="131">
                  <c:v>5220.9979999999996</c:v>
                </c:pt>
                <c:pt idx="132">
                  <c:v>6421.9979999999996</c:v>
                </c:pt>
                <c:pt idx="133">
                  <c:v>5904.9979999999996</c:v>
                </c:pt>
                <c:pt idx="134">
                  <c:v>6488.9979999999996</c:v>
                </c:pt>
                <c:pt idx="135">
                  <c:v>6366.9979999999996</c:v>
                </c:pt>
                <c:pt idx="136">
                  <c:v>7445.2420000000002</c:v>
                </c:pt>
                <c:pt idx="137">
                  <c:v>9067.257999999999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9630.6710000000003</c:v>
                </c:pt>
                <c:pt idx="152">
                  <c:v>9264.3189999999995</c:v>
                </c:pt>
                <c:pt idx="153">
                  <c:v>9944.9509999999991</c:v>
                </c:pt>
                <c:pt idx="154">
                  <c:v>8800.5619999999999</c:v>
                </c:pt>
                <c:pt idx="155">
                  <c:v>7578.1389999999992</c:v>
                </c:pt>
                <c:pt idx="156">
                  <c:v>6409.2960000000003</c:v>
                </c:pt>
                <c:pt idx="157">
                  <c:v>7153.8860000000004</c:v>
                </c:pt>
                <c:pt idx="158">
                  <c:v>6548.3099999999995</c:v>
                </c:pt>
                <c:pt idx="159">
                  <c:v>8273.7119999999995</c:v>
                </c:pt>
                <c:pt idx="160">
                  <c:v>8221.2970000000005</c:v>
                </c:pt>
                <c:pt idx="161">
                  <c:v>9927.6970000000001</c:v>
                </c:pt>
                <c:pt idx="162">
                  <c:v>9123.8289999999997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615-4A4A-B116-48867BB5BB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2626056"/>
        <c:axId val="862626840"/>
      </c:lineChart>
      <c:catAx>
        <c:axId val="862626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2626840"/>
        <c:crosses val="autoZero"/>
        <c:auto val="1"/>
        <c:lblAlgn val="ctr"/>
        <c:lblOffset val="100"/>
        <c:noMultiLvlLbl val="0"/>
      </c:catAx>
      <c:valAx>
        <c:axId val="862626840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2626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Path To 100 Targets Hourly MW For April Week</a:t>
            </a:r>
          </a:p>
        </c:rich>
      </c:tx>
      <c:layout>
        <c:manualLayout>
          <c:xMode val="edge"/>
          <c:yMode val="edge"/>
          <c:x val="0.10026688140852671"/>
          <c:y val="2.49670600817119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19770304910955"/>
          <c:y val="0.19695187801221134"/>
          <c:w val="0.81509376686454393"/>
          <c:h val="0.642776634151967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1.5</c:v>
                </c:pt>
                <c:pt idx="2">
                  <c:v>7345</c:v>
                </c:pt>
                <c:pt idx="3">
                  <c:v>7343.25</c:v>
                </c:pt>
                <c:pt idx="4">
                  <c:v>7342.25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.25</c:v>
                </c:pt>
                <c:pt idx="9">
                  <c:v>7350</c:v>
                </c:pt>
                <c:pt idx="10">
                  <c:v>7351.75</c:v>
                </c:pt>
                <c:pt idx="11">
                  <c:v>7342</c:v>
                </c:pt>
                <c:pt idx="12">
                  <c:v>7345.75</c:v>
                </c:pt>
                <c:pt idx="13">
                  <c:v>7348</c:v>
                </c:pt>
                <c:pt idx="14">
                  <c:v>7346.25</c:v>
                </c:pt>
                <c:pt idx="15">
                  <c:v>7345.25</c:v>
                </c:pt>
                <c:pt idx="16">
                  <c:v>7346</c:v>
                </c:pt>
                <c:pt idx="17">
                  <c:v>7339</c:v>
                </c:pt>
                <c:pt idx="18">
                  <c:v>7343.75</c:v>
                </c:pt>
                <c:pt idx="19">
                  <c:v>7341</c:v>
                </c:pt>
                <c:pt idx="20">
                  <c:v>7344.5</c:v>
                </c:pt>
                <c:pt idx="21">
                  <c:v>7339</c:v>
                </c:pt>
                <c:pt idx="22">
                  <c:v>7343.5</c:v>
                </c:pt>
                <c:pt idx="23">
                  <c:v>7337.25</c:v>
                </c:pt>
                <c:pt idx="24">
                  <c:v>7342.5</c:v>
                </c:pt>
                <c:pt idx="25">
                  <c:v>7337.25</c:v>
                </c:pt>
                <c:pt idx="26">
                  <c:v>7349.75</c:v>
                </c:pt>
                <c:pt idx="27">
                  <c:v>7345.25</c:v>
                </c:pt>
                <c:pt idx="28">
                  <c:v>7344.75</c:v>
                </c:pt>
                <c:pt idx="29">
                  <c:v>7343.25</c:v>
                </c:pt>
                <c:pt idx="30">
                  <c:v>7344.25</c:v>
                </c:pt>
                <c:pt idx="31">
                  <c:v>7348.25</c:v>
                </c:pt>
                <c:pt idx="32">
                  <c:v>7346.5</c:v>
                </c:pt>
                <c:pt idx="33">
                  <c:v>7345.75</c:v>
                </c:pt>
                <c:pt idx="34">
                  <c:v>7349.75</c:v>
                </c:pt>
                <c:pt idx="35">
                  <c:v>7345.25</c:v>
                </c:pt>
                <c:pt idx="36">
                  <c:v>7348</c:v>
                </c:pt>
                <c:pt idx="37">
                  <c:v>7346.5</c:v>
                </c:pt>
                <c:pt idx="38">
                  <c:v>7349.5</c:v>
                </c:pt>
                <c:pt idx="39">
                  <c:v>7348</c:v>
                </c:pt>
                <c:pt idx="40">
                  <c:v>7348.5</c:v>
                </c:pt>
                <c:pt idx="41">
                  <c:v>7351.25</c:v>
                </c:pt>
                <c:pt idx="42">
                  <c:v>7343.5</c:v>
                </c:pt>
                <c:pt idx="43">
                  <c:v>7351.75</c:v>
                </c:pt>
                <c:pt idx="44">
                  <c:v>7351</c:v>
                </c:pt>
                <c:pt idx="45">
                  <c:v>7351.5</c:v>
                </c:pt>
                <c:pt idx="46">
                  <c:v>7351.5</c:v>
                </c:pt>
                <c:pt idx="47">
                  <c:v>7355</c:v>
                </c:pt>
                <c:pt idx="48">
                  <c:v>7350</c:v>
                </c:pt>
                <c:pt idx="49">
                  <c:v>7353.5</c:v>
                </c:pt>
                <c:pt idx="50">
                  <c:v>7348.75</c:v>
                </c:pt>
                <c:pt idx="51">
                  <c:v>7358.5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5.5</c:v>
                </c:pt>
                <c:pt idx="57">
                  <c:v>7358</c:v>
                </c:pt>
                <c:pt idx="58">
                  <c:v>7353.25</c:v>
                </c:pt>
                <c:pt idx="59">
                  <c:v>7360.25</c:v>
                </c:pt>
                <c:pt idx="60">
                  <c:v>7356</c:v>
                </c:pt>
                <c:pt idx="61">
                  <c:v>7350.25</c:v>
                </c:pt>
                <c:pt idx="62">
                  <c:v>7350</c:v>
                </c:pt>
                <c:pt idx="63">
                  <c:v>7355.5</c:v>
                </c:pt>
                <c:pt idx="64">
                  <c:v>7348.25</c:v>
                </c:pt>
                <c:pt idx="65">
                  <c:v>7353.25</c:v>
                </c:pt>
                <c:pt idx="66">
                  <c:v>7350.75</c:v>
                </c:pt>
                <c:pt idx="67">
                  <c:v>7350.25</c:v>
                </c:pt>
                <c:pt idx="68">
                  <c:v>7353.75</c:v>
                </c:pt>
                <c:pt idx="69">
                  <c:v>7355.5</c:v>
                </c:pt>
                <c:pt idx="70">
                  <c:v>7350.5</c:v>
                </c:pt>
                <c:pt idx="71">
                  <c:v>7355.5</c:v>
                </c:pt>
                <c:pt idx="72">
                  <c:v>7357</c:v>
                </c:pt>
                <c:pt idx="73">
                  <c:v>7354.25</c:v>
                </c:pt>
                <c:pt idx="74">
                  <c:v>7352</c:v>
                </c:pt>
                <c:pt idx="75">
                  <c:v>7352.5</c:v>
                </c:pt>
                <c:pt idx="76">
                  <c:v>7359.75</c:v>
                </c:pt>
                <c:pt idx="77">
                  <c:v>7353.75</c:v>
                </c:pt>
                <c:pt idx="78">
                  <c:v>7361</c:v>
                </c:pt>
                <c:pt idx="79">
                  <c:v>7354</c:v>
                </c:pt>
                <c:pt idx="80">
                  <c:v>7356.5</c:v>
                </c:pt>
                <c:pt idx="81">
                  <c:v>7350.5</c:v>
                </c:pt>
                <c:pt idx="82">
                  <c:v>7357.75</c:v>
                </c:pt>
                <c:pt idx="83">
                  <c:v>7350.25</c:v>
                </c:pt>
                <c:pt idx="84">
                  <c:v>7361.75</c:v>
                </c:pt>
                <c:pt idx="85">
                  <c:v>7357.5</c:v>
                </c:pt>
                <c:pt idx="86">
                  <c:v>7353.25</c:v>
                </c:pt>
                <c:pt idx="87">
                  <c:v>7354</c:v>
                </c:pt>
                <c:pt idx="88">
                  <c:v>7360</c:v>
                </c:pt>
                <c:pt idx="89">
                  <c:v>7359.5</c:v>
                </c:pt>
                <c:pt idx="90">
                  <c:v>7360.5</c:v>
                </c:pt>
                <c:pt idx="91">
                  <c:v>7356</c:v>
                </c:pt>
                <c:pt idx="92">
                  <c:v>7357.5</c:v>
                </c:pt>
                <c:pt idx="93">
                  <c:v>7359.5</c:v>
                </c:pt>
                <c:pt idx="94">
                  <c:v>7357</c:v>
                </c:pt>
                <c:pt idx="95">
                  <c:v>7357</c:v>
                </c:pt>
                <c:pt idx="96">
                  <c:v>7361.5</c:v>
                </c:pt>
                <c:pt idx="97">
                  <c:v>7358</c:v>
                </c:pt>
                <c:pt idx="98">
                  <c:v>7358</c:v>
                </c:pt>
                <c:pt idx="99">
                  <c:v>7356.75</c:v>
                </c:pt>
                <c:pt idx="100">
                  <c:v>7356</c:v>
                </c:pt>
                <c:pt idx="101">
                  <c:v>7359</c:v>
                </c:pt>
                <c:pt idx="102">
                  <c:v>7361.25</c:v>
                </c:pt>
                <c:pt idx="103">
                  <c:v>7357.5</c:v>
                </c:pt>
                <c:pt idx="104">
                  <c:v>7355.5</c:v>
                </c:pt>
                <c:pt idx="105">
                  <c:v>7361.5</c:v>
                </c:pt>
                <c:pt idx="106">
                  <c:v>7360.75</c:v>
                </c:pt>
                <c:pt idx="107">
                  <c:v>7355.5</c:v>
                </c:pt>
                <c:pt idx="108">
                  <c:v>7350.25</c:v>
                </c:pt>
                <c:pt idx="109">
                  <c:v>7356.75</c:v>
                </c:pt>
                <c:pt idx="110">
                  <c:v>7355.25</c:v>
                </c:pt>
                <c:pt idx="111">
                  <c:v>7352</c:v>
                </c:pt>
                <c:pt idx="112">
                  <c:v>7353.75</c:v>
                </c:pt>
                <c:pt idx="113">
                  <c:v>7352.25</c:v>
                </c:pt>
                <c:pt idx="114">
                  <c:v>7355.5</c:v>
                </c:pt>
                <c:pt idx="115">
                  <c:v>7355.75</c:v>
                </c:pt>
                <c:pt idx="116">
                  <c:v>7347.75</c:v>
                </c:pt>
                <c:pt idx="117">
                  <c:v>7356</c:v>
                </c:pt>
                <c:pt idx="118">
                  <c:v>7344.25</c:v>
                </c:pt>
                <c:pt idx="119">
                  <c:v>7354.75</c:v>
                </c:pt>
                <c:pt idx="120">
                  <c:v>7352</c:v>
                </c:pt>
                <c:pt idx="121">
                  <c:v>7353</c:v>
                </c:pt>
                <c:pt idx="122">
                  <c:v>7350.75</c:v>
                </c:pt>
                <c:pt idx="123">
                  <c:v>7352.5</c:v>
                </c:pt>
                <c:pt idx="124">
                  <c:v>7352</c:v>
                </c:pt>
                <c:pt idx="125">
                  <c:v>7353.5</c:v>
                </c:pt>
                <c:pt idx="126">
                  <c:v>7349.75</c:v>
                </c:pt>
                <c:pt idx="127">
                  <c:v>7351.75</c:v>
                </c:pt>
                <c:pt idx="128">
                  <c:v>7346.25</c:v>
                </c:pt>
                <c:pt idx="129">
                  <c:v>7346.5</c:v>
                </c:pt>
                <c:pt idx="130">
                  <c:v>7344</c:v>
                </c:pt>
                <c:pt idx="131">
                  <c:v>7342.5</c:v>
                </c:pt>
                <c:pt idx="132">
                  <c:v>7339.25</c:v>
                </c:pt>
                <c:pt idx="133">
                  <c:v>7338.5</c:v>
                </c:pt>
                <c:pt idx="134">
                  <c:v>7339.25</c:v>
                </c:pt>
                <c:pt idx="135">
                  <c:v>7336.5</c:v>
                </c:pt>
                <c:pt idx="136">
                  <c:v>7331.5</c:v>
                </c:pt>
                <c:pt idx="137">
                  <c:v>7334.25</c:v>
                </c:pt>
                <c:pt idx="138">
                  <c:v>7336.5</c:v>
                </c:pt>
                <c:pt idx="139">
                  <c:v>7338.75</c:v>
                </c:pt>
                <c:pt idx="140">
                  <c:v>7342.5</c:v>
                </c:pt>
                <c:pt idx="141">
                  <c:v>7339.75</c:v>
                </c:pt>
                <c:pt idx="142">
                  <c:v>7339.5</c:v>
                </c:pt>
                <c:pt idx="143">
                  <c:v>7343.5</c:v>
                </c:pt>
                <c:pt idx="144">
                  <c:v>7347.5</c:v>
                </c:pt>
                <c:pt idx="145">
                  <c:v>7348.75</c:v>
                </c:pt>
                <c:pt idx="146">
                  <c:v>7341.25</c:v>
                </c:pt>
                <c:pt idx="147">
                  <c:v>7340.75</c:v>
                </c:pt>
                <c:pt idx="148">
                  <c:v>7344.75</c:v>
                </c:pt>
                <c:pt idx="149">
                  <c:v>7343.75</c:v>
                </c:pt>
                <c:pt idx="150">
                  <c:v>7339.75</c:v>
                </c:pt>
                <c:pt idx="151">
                  <c:v>7337.5</c:v>
                </c:pt>
                <c:pt idx="152">
                  <c:v>7339.5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.25</c:v>
                </c:pt>
                <c:pt idx="157">
                  <c:v>7326.5</c:v>
                </c:pt>
                <c:pt idx="158">
                  <c:v>7325.5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.25</c:v>
                </c:pt>
                <c:pt idx="164">
                  <c:v>7319.5</c:v>
                </c:pt>
                <c:pt idx="165">
                  <c:v>7315.75</c:v>
                </c:pt>
                <c:pt idx="166">
                  <c:v>7321</c:v>
                </c:pt>
                <c:pt idx="167">
                  <c:v>787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41-4602-9258-A76CF9AB45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 formatCode="_(* #,##0_);_(* \(#,##0\);_(* &quot;-&quot;??_);_(@_)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41-4602-9258-A76CF9AB45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D$2:$D$169</c:f>
              <c:numCache>
                <c:formatCode>#,##0</c:formatCode>
                <c:ptCount val="168"/>
                <c:pt idx="0">
                  <c:v>3295.59</c:v>
                </c:pt>
                <c:pt idx="1">
                  <c:v>3299.1970000000001</c:v>
                </c:pt>
                <c:pt idx="2">
                  <c:v>3273.0219999999999</c:v>
                </c:pt>
                <c:pt idx="3">
                  <c:v>3279.9009999999998</c:v>
                </c:pt>
                <c:pt idx="4">
                  <c:v>3290.9090000000001</c:v>
                </c:pt>
                <c:pt idx="5">
                  <c:v>3333.3249999999998</c:v>
                </c:pt>
                <c:pt idx="6">
                  <c:v>3369.96</c:v>
                </c:pt>
                <c:pt idx="7">
                  <c:v>3392.1959999999999</c:v>
                </c:pt>
                <c:pt idx="8">
                  <c:v>3419.6660000000002</c:v>
                </c:pt>
                <c:pt idx="9">
                  <c:v>3287.6619999999998</c:v>
                </c:pt>
                <c:pt idx="10">
                  <c:v>3143.4470000000001</c:v>
                </c:pt>
                <c:pt idx="11">
                  <c:v>3060.3270000000002</c:v>
                </c:pt>
                <c:pt idx="12">
                  <c:v>3059.0639999999999</c:v>
                </c:pt>
                <c:pt idx="13">
                  <c:v>2846.788</c:v>
                </c:pt>
                <c:pt idx="14">
                  <c:v>2665.79</c:v>
                </c:pt>
                <c:pt idx="15">
                  <c:v>2777.2280000000001</c:v>
                </c:pt>
                <c:pt idx="16">
                  <c:v>2798.4450000000002</c:v>
                </c:pt>
                <c:pt idx="17">
                  <c:v>2786.9690000000001</c:v>
                </c:pt>
                <c:pt idx="18">
                  <c:v>2826.25</c:v>
                </c:pt>
                <c:pt idx="19">
                  <c:v>2694.68</c:v>
                </c:pt>
                <c:pt idx="20">
                  <c:v>2872.0909999999999</c:v>
                </c:pt>
                <c:pt idx="21">
                  <c:v>3058.3809999999999</c:v>
                </c:pt>
                <c:pt idx="22">
                  <c:v>3009.2440000000001</c:v>
                </c:pt>
                <c:pt idx="23">
                  <c:v>2656.7159999999999</c:v>
                </c:pt>
                <c:pt idx="24">
                  <c:v>2227.6060000000002</c:v>
                </c:pt>
                <c:pt idx="25">
                  <c:v>2436.1779999999999</c:v>
                </c:pt>
                <c:pt idx="26">
                  <c:v>2638.07</c:v>
                </c:pt>
                <c:pt idx="27">
                  <c:v>2268.5630000000001</c:v>
                </c:pt>
                <c:pt idx="28">
                  <c:v>2399.9009999999998</c:v>
                </c:pt>
                <c:pt idx="29">
                  <c:v>2673.8150000000001</c:v>
                </c:pt>
                <c:pt idx="30">
                  <c:v>2920.3319999999999</c:v>
                </c:pt>
                <c:pt idx="31">
                  <c:v>3122.8359999999998</c:v>
                </c:pt>
                <c:pt idx="32">
                  <c:v>3439.1860000000001</c:v>
                </c:pt>
                <c:pt idx="33">
                  <c:v>3500.2669999999998</c:v>
                </c:pt>
                <c:pt idx="34">
                  <c:v>3523.9259999999999</c:v>
                </c:pt>
                <c:pt idx="35">
                  <c:v>3522.4920000000002</c:v>
                </c:pt>
                <c:pt idx="36">
                  <c:v>3530.4360000000001</c:v>
                </c:pt>
                <c:pt idx="37">
                  <c:v>3515.0889999999999</c:v>
                </c:pt>
                <c:pt idx="38">
                  <c:v>3514.5149999999999</c:v>
                </c:pt>
                <c:pt idx="39">
                  <c:v>3515.9580000000001</c:v>
                </c:pt>
                <c:pt idx="40">
                  <c:v>3524.42</c:v>
                </c:pt>
                <c:pt idx="41">
                  <c:v>3503.4830000000002</c:v>
                </c:pt>
                <c:pt idx="42">
                  <c:v>3397.9209999999998</c:v>
                </c:pt>
                <c:pt idx="43">
                  <c:v>2758.24</c:v>
                </c:pt>
                <c:pt idx="44">
                  <c:v>2031.307</c:v>
                </c:pt>
                <c:pt idx="45">
                  <c:v>1866.107</c:v>
                </c:pt>
                <c:pt idx="46">
                  <c:v>1490.28</c:v>
                </c:pt>
                <c:pt idx="47">
                  <c:v>1363.8589999999999</c:v>
                </c:pt>
                <c:pt idx="48">
                  <c:v>1349.865</c:v>
                </c:pt>
                <c:pt idx="49">
                  <c:v>1457.5820000000001</c:v>
                </c:pt>
                <c:pt idx="50">
                  <c:v>1678.4839999999999</c:v>
                </c:pt>
                <c:pt idx="51">
                  <c:v>1919.296</c:v>
                </c:pt>
                <c:pt idx="52">
                  <c:v>1745.2840000000001</c:v>
                </c:pt>
                <c:pt idx="53">
                  <c:v>1556.327</c:v>
                </c:pt>
                <c:pt idx="54">
                  <c:v>1450.8520000000001</c:v>
                </c:pt>
                <c:pt idx="55">
                  <c:v>1167.3230000000001</c:v>
                </c:pt>
                <c:pt idx="56">
                  <c:v>869.78499999999997</c:v>
                </c:pt>
                <c:pt idx="57">
                  <c:v>1161.558</c:v>
                </c:pt>
                <c:pt idx="58">
                  <c:v>1026.712</c:v>
                </c:pt>
                <c:pt idx="59">
                  <c:v>955.81399999999996</c:v>
                </c:pt>
                <c:pt idx="60">
                  <c:v>1159.3240000000001</c:v>
                </c:pt>
                <c:pt idx="61">
                  <c:v>1180.826</c:v>
                </c:pt>
                <c:pt idx="62">
                  <c:v>958.27300000000002</c:v>
                </c:pt>
                <c:pt idx="63">
                  <c:v>764.36300000000006</c:v>
                </c:pt>
                <c:pt idx="64">
                  <c:v>631.58699999999999</c:v>
                </c:pt>
                <c:pt idx="65">
                  <c:v>424.28</c:v>
                </c:pt>
                <c:pt idx="66">
                  <c:v>625.678</c:v>
                </c:pt>
                <c:pt idx="67">
                  <c:v>827.20399999999995</c:v>
                </c:pt>
                <c:pt idx="68">
                  <c:v>1143.6569999999999</c:v>
                </c:pt>
                <c:pt idx="69">
                  <c:v>1824.2280000000001</c:v>
                </c:pt>
                <c:pt idx="70">
                  <c:v>1889.7829999999999</c:v>
                </c:pt>
                <c:pt idx="71">
                  <c:v>1685.742</c:v>
                </c:pt>
                <c:pt idx="72">
                  <c:v>2055.6379999999999</c:v>
                </c:pt>
                <c:pt idx="73">
                  <c:v>2150.2809999999999</c:v>
                </c:pt>
                <c:pt idx="74">
                  <c:v>2874.192</c:v>
                </c:pt>
                <c:pt idx="75">
                  <c:v>3284.5160000000001</c:v>
                </c:pt>
                <c:pt idx="76">
                  <c:v>3163.44</c:v>
                </c:pt>
                <c:pt idx="77">
                  <c:v>3060.0160000000001</c:v>
                </c:pt>
                <c:pt idx="78">
                  <c:v>2860.06</c:v>
                </c:pt>
                <c:pt idx="79">
                  <c:v>2940.1179999999999</c:v>
                </c:pt>
                <c:pt idx="80">
                  <c:v>3171.3130000000001</c:v>
                </c:pt>
                <c:pt idx="81">
                  <c:v>3270.3969999999999</c:v>
                </c:pt>
                <c:pt idx="82">
                  <c:v>3211.308</c:v>
                </c:pt>
                <c:pt idx="83">
                  <c:v>3204.6709999999998</c:v>
                </c:pt>
                <c:pt idx="84">
                  <c:v>3235.8939999999998</c:v>
                </c:pt>
                <c:pt idx="85">
                  <c:v>3287.3310000000001</c:v>
                </c:pt>
                <c:pt idx="86">
                  <c:v>3309.8580000000002</c:v>
                </c:pt>
                <c:pt idx="87">
                  <c:v>3223.098</c:v>
                </c:pt>
                <c:pt idx="88">
                  <c:v>3006.8870000000002</c:v>
                </c:pt>
                <c:pt idx="89">
                  <c:v>2659.5639999999999</c:v>
                </c:pt>
                <c:pt idx="90">
                  <c:v>2592.75</c:v>
                </c:pt>
                <c:pt idx="91">
                  <c:v>2344.2809999999999</c:v>
                </c:pt>
                <c:pt idx="92">
                  <c:v>1775.722</c:v>
                </c:pt>
                <c:pt idx="93">
                  <c:v>1570.816</c:v>
                </c:pt>
                <c:pt idx="94">
                  <c:v>1436.942</c:v>
                </c:pt>
                <c:pt idx="95">
                  <c:v>1284.98</c:v>
                </c:pt>
                <c:pt idx="96">
                  <c:v>1181.2349999999999</c:v>
                </c:pt>
                <c:pt idx="97">
                  <c:v>1194.3969999999999</c:v>
                </c:pt>
                <c:pt idx="98">
                  <c:v>1205.9839999999999</c:v>
                </c:pt>
                <c:pt idx="99">
                  <c:v>1019.899</c:v>
                </c:pt>
                <c:pt idx="100">
                  <c:v>828.21799999999996</c:v>
                </c:pt>
                <c:pt idx="101">
                  <c:v>804.82299999999998</c:v>
                </c:pt>
                <c:pt idx="102">
                  <c:v>617.16899999999998</c:v>
                </c:pt>
                <c:pt idx="103">
                  <c:v>385.089</c:v>
                </c:pt>
                <c:pt idx="104">
                  <c:v>188.90100000000001</c:v>
                </c:pt>
                <c:pt idx="105">
                  <c:v>209.304</c:v>
                </c:pt>
                <c:pt idx="106">
                  <c:v>320.88799999999998</c:v>
                </c:pt>
                <c:pt idx="107">
                  <c:v>397.90100000000001</c:v>
                </c:pt>
                <c:pt idx="108">
                  <c:v>368.40600000000001</c:v>
                </c:pt>
                <c:pt idx="109">
                  <c:v>524.17700000000002</c:v>
                </c:pt>
                <c:pt idx="110">
                  <c:v>772.94799999999998</c:v>
                </c:pt>
                <c:pt idx="111">
                  <c:v>1192.9079999999999</c:v>
                </c:pt>
                <c:pt idx="112">
                  <c:v>1537.499</c:v>
                </c:pt>
                <c:pt idx="113">
                  <c:v>1993.1130000000001</c:v>
                </c:pt>
                <c:pt idx="114">
                  <c:v>2345.8069999999998</c:v>
                </c:pt>
                <c:pt idx="115">
                  <c:v>2600.3420000000001</c:v>
                </c:pt>
                <c:pt idx="116">
                  <c:v>2827.7370000000001</c:v>
                </c:pt>
                <c:pt idx="117">
                  <c:v>3120.0590000000002</c:v>
                </c:pt>
                <c:pt idx="118">
                  <c:v>3267.49</c:v>
                </c:pt>
                <c:pt idx="119">
                  <c:v>3358.163</c:v>
                </c:pt>
                <c:pt idx="120">
                  <c:v>3436.0450000000001</c:v>
                </c:pt>
                <c:pt idx="121">
                  <c:v>3412.0509999999999</c:v>
                </c:pt>
                <c:pt idx="122">
                  <c:v>3390.99</c:v>
                </c:pt>
                <c:pt idx="123">
                  <c:v>3314.049</c:v>
                </c:pt>
                <c:pt idx="124">
                  <c:v>3250.1419999999998</c:v>
                </c:pt>
                <c:pt idx="125">
                  <c:v>3195.1550000000002</c:v>
                </c:pt>
                <c:pt idx="126">
                  <c:v>3114.9</c:v>
                </c:pt>
                <c:pt idx="127">
                  <c:v>2999.0819999999999</c:v>
                </c:pt>
                <c:pt idx="128">
                  <c:v>2615.0120000000002</c:v>
                </c:pt>
                <c:pt idx="129">
                  <c:v>2316.0940000000001</c:v>
                </c:pt>
                <c:pt idx="130">
                  <c:v>2129.0859999999998</c:v>
                </c:pt>
                <c:pt idx="131">
                  <c:v>1846.0940000000001</c:v>
                </c:pt>
                <c:pt idx="132">
                  <c:v>1339.01</c:v>
                </c:pt>
                <c:pt idx="133">
                  <c:v>970.11599999999999</c:v>
                </c:pt>
                <c:pt idx="134">
                  <c:v>884.03300000000002</c:v>
                </c:pt>
                <c:pt idx="135">
                  <c:v>950.01499999999999</c:v>
                </c:pt>
                <c:pt idx="136">
                  <c:v>882.19799999999998</c:v>
                </c:pt>
                <c:pt idx="137">
                  <c:v>623.12</c:v>
                </c:pt>
                <c:pt idx="138">
                  <c:v>398.85899999999998</c:v>
                </c:pt>
                <c:pt idx="139">
                  <c:v>338</c:v>
                </c:pt>
                <c:pt idx="140">
                  <c:v>592</c:v>
                </c:pt>
                <c:pt idx="141">
                  <c:v>1092.8989999999999</c:v>
                </c:pt>
                <c:pt idx="142">
                  <c:v>1717.155</c:v>
                </c:pt>
                <c:pt idx="143">
                  <c:v>1826.364</c:v>
                </c:pt>
                <c:pt idx="144">
                  <c:v>1899.2049999999999</c:v>
                </c:pt>
                <c:pt idx="145">
                  <c:v>1890.268</c:v>
                </c:pt>
                <c:pt idx="146">
                  <c:v>1834.5540000000001</c:v>
                </c:pt>
                <c:pt idx="147">
                  <c:v>1689.69</c:v>
                </c:pt>
                <c:pt idx="148">
                  <c:v>1438.914</c:v>
                </c:pt>
                <c:pt idx="149">
                  <c:v>1185.664</c:v>
                </c:pt>
                <c:pt idx="150">
                  <c:v>1348.85</c:v>
                </c:pt>
                <c:pt idx="151">
                  <c:v>1386.356</c:v>
                </c:pt>
                <c:pt idx="152">
                  <c:v>1256.068</c:v>
                </c:pt>
                <c:pt idx="153">
                  <c:v>1032.7449999999999</c:v>
                </c:pt>
                <c:pt idx="154">
                  <c:v>1191.3869999999999</c:v>
                </c:pt>
                <c:pt idx="155">
                  <c:v>1498.8019999999999</c:v>
                </c:pt>
                <c:pt idx="156">
                  <c:v>1506.9760000000001</c:v>
                </c:pt>
                <c:pt idx="157">
                  <c:v>2250.8490000000002</c:v>
                </c:pt>
                <c:pt idx="158">
                  <c:v>3082.8389999999999</c:v>
                </c:pt>
                <c:pt idx="159">
                  <c:v>3209.3110000000001</c:v>
                </c:pt>
                <c:pt idx="160">
                  <c:v>3294.0819999999999</c:v>
                </c:pt>
                <c:pt idx="161">
                  <c:v>3335.527</c:v>
                </c:pt>
                <c:pt idx="162">
                  <c:v>3237.366</c:v>
                </c:pt>
                <c:pt idx="163">
                  <c:v>3418.7710000000002</c:v>
                </c:pt>
                <c:pt idx="164">
                  <c:v>3485.357</c:v>
                </c:pt>
                <c:pt idx="165">
                  <c:v>3391.5540000000001</c:v>
                </c:pt>
                <c:pt idx="166">
                  <c:v>3152.1970000000001</c:v>
                </c:pt>
                <c:pt idx="167" formatCode="_(* #,##0_);_(* \(#,##0\);_(* &quot;-&quot;??_);_(@_)">
                  <c:v>2764.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41-4602-9258-A76CF9AB45C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E$2:$E$169</c:f>
              <c:numCache>
                <c:formatCode>_(* #,##0_);_(* \(#,##0\);_(* "-"??_);_(@_)</c:formatCode>
                <c:ptCount val="168"/>
                <c:pt idx="0">
                  <c:v>3295.59</c:v>
                </c:pt>
                <c:pt idx="1">
                  <c:v>3299.1970000000001</c:v>
                </c:pt>
                <c:pt idx="2">
                  <c:v>3273.0219999999999</c:v>
                </c:pt>
                <c:pt idx="3">
                  <c:v>3279.9009999999998</c:v>
                </c:pt>
                <c:pt idx="4">
                  <c:v>3290.9090000000001</c:v>
                </c:pt>
                <c:pt idx="5">
                  <c:v>3333.3249999999998</c:v>
                </c:pt>
                <c:pt idx="6">
                  <c:v>3369.96</c:v>
                </c:pt>
                <c:pt idx="7">
                  <c:v>3392.1959999999999</c:v>
                </c:pt>
                <c:pt idx="8">
                  <c:v>3419.6660000000002</c:v>
                </c:pt>
                <c:pt idx="9">
                  <c:v>3287.6619999999998</c:v>
                </c:pt>
                <c:pt idx="10">
                  <c:v>3143.4470000000001</c:v>
                </c:pt>
                <c:pt idx="11">
                  <c:v>3060.3270000000002</c:v>
                </c:pt>
                <c:pt idx="12">
                  <c:v>3059.0639999999999</c:v>
                </c:pt>
                <c:pt idx="13">
                  <c:v>2846.788</c:v>
                </c:pt>
                <c:pt idx="14">
                  <c:v>2665.79</c:v>
                </c:pt>
                <c:pt idx="15">
                  <c:v>2777.2280000000001</c:v>
                </c:pt>
                <c:pt idx="16">
                  <c:v>2798.4450000000002</c:v>
                </c:pt>
                <c:pt idx="17">
                  <c:v>2786.9690000000001</c:v>
                </c:pt>
                <c:pt idx="18">
                  <c:v>2826.25</c:v>
                </c:pt>
                <c:pt idx="19">
                  <c:v>2694.68</c:v>
                </c:pt>
                <c:pt idx="20">
                  <c:v>2872.0909999999999</c:v>
                </c:pt>
                <c:pt idx="21">
                  <c:v>3058.3809999999999</c:v>
                </c:pt>
                <c:pt idx="22">
                  <c:v>3009.2440000000001</c:v>
                </c:pt>
                <c:pt idx="23">
                  <c:v>2656.7159999999999</c:v>
                </c:pt>
                <c:pt idx="24">
                  <c:v>2227.6060000000002</c:v>
                </c:pt>
                <c:pt idx="25">
                  <c:v>2436.1779999999999</c:v>
                </c:pt>
                <c:pt idx="26">
                  <c:v>2638.07</c:v>
                </c:pt>
                <c:pt idx="27">
                  <c:v>2268.5630000000001</c:v>
                </c:pt>
                <c:pt idx="28">
                  <c:v>2399.9009999999998</c:v>
                </c:pt>
                <c:pt idx="29">
                  <c:v>2673.8150000000001</c:v>
                </c:pt>
                <c:pt idx="30">
                  <c:v>2920.3319999999999</c:v>
                </c:pt>
                <c:pt idx="31">
                  <c:v>3122.8359999999998</c:v>
                </c:pt>
                <c:pt idx="32">
                  <c:v>3439.1860000000001</c:v>
                </c:pt>
                <c:pt idx="33">
                  <c:v>3500.2669999999998</c:v>
                </c:pt>
                <c:pt idx="34">
                  <c:v>3523.9259999999999</c:v>
                </c:pt>
                <c:pt idx="35">
                  <c:v>3522.4920000000002</c:v>
                </c:pt>
                <c:pt idx="36">
                  <c:v>3530.4360000000001</c:v>
                </c:pt>
                <c:pt idx="37">
                  <c:v>3515.0889999999999</c:v>
                </c:pt>
                <c:pt idx="38">
                  <c:v>3514.5149999999999</c:v>
                </c:pt>
                <c:pt idx="39">
                  <c:v>3515.9580000000001</c:v>
                </c:pt>
                <c:pt idx="40">
                  <c:v>3524.42</c:v>
                </c:pt>
                <c:pt idx="41">
                  <c:v>3503.4830000000002</c:v>
                </c:pt>
                <c:pt idx="42">
                  <c:v>3397.9209999999998</c:v>
                </c:pt>
                <c:pt idx="43">
                  <c:v>2758.24</c:v>
                </c:pt>
                <c:pt idx="44">
                  <c:v>2031.307</c:v>
                </c:pt>
                <c:pt idx="45">
                  <c:v>1866.107</c:v>
                </c:pt>
                <c:pt idx="46">
                  <c:v>1490.28</c:v>
                </c:pt>
                <c:pt idx="47">
                  <c:v>1363.8589999999999</c:v>
                </c:pt>
                <c:pt idx="48">
                  <c:v>1349.865</c:v>
                </c:pt>
                <c:pt idx="49">
                  <c:v>1457.5820000000001</c:v>
                </c:pt>
                <c:pt idx="50">
                  <c:v>1678.4839999999999</c:v>
                </c:pt>
                <c:pt idx="51">
                  <c:v>1919.296</c:v>
                </c:pt>
                <c:pt idx="52">
                  <c:v>1745.2840000000001</c:v>
                </c:pt>
                <c:pt idx="53">
                  <c:v>1556.327</c:v>
                </c:pt>
                <c:pt idx="54">
                  <c:v>1450.8520000000001</c:v>
                </c:pt>
                <c:pt idx="55">
                  <c:v>1167.3230000000001</c:v>
                </c:pt>
                <c:pt idx="56">
                  <c:v>869.78499999999997</c:v>
                </c:pt>
                <c:pt idx="57">
                  <c:v>1161.558</c:v>
                </c:pt>
                <c:pt idx="58">
                  <c:v>1026.712</c:v>
                </c:pt>
                <c:pt idx="59">
                  <c:v>955.81399999999996</c:v>
                </c:pt>
                <c:pt idx="60">
                  <c:v>1159.3240000000001</c:v>
                </c:pt>
                <c:pt idx="61">
                  <c:v>1180.826</c:v>
                </c:pt>
                <c:pt idx="62">
                  <c:v>958.27300000000002</c:v>
                </c:pt>
                <c:pt idx="63">
                  <c:v>764.36300000000006</c:v>
                </c:pt>
                <c:pt idx="64">
                  <c:v>631.58699999999999</c:v>
                </c:pt>
                <c:pt idx="65">
                  <c:v>424.28</c:v>
                </c:pt>
                <c:pt idx="66">
                  <c:v>625.678</c:v>
                </c:pt>
                <c:pt idx="67">
                  <c:v>827.20399999999995</c:v>
                </c:pt>
                <c:pt idx="68">
                  <c:v>1143.6569999999999</c:v>
                </c:pt>
                <c:pt idx="69">
                  <c:v>1824.2280000000001</c:v>
                </c:pt>
                <c:pt idx="70">
                  <c:v>1889.7829999999999</c:v>
                </c:pt>
                <c:pt idx="71">
                  <c:v>1685.742</c:v>
                </c:pt>
                <c:pt idx="72">
                  <c:v>2055.6379999999999</c:v>
                </c:pt>
                <c:pt idx="73">
                  <c:v>2150.2809999999999</c:v>
                </c:pt>
                <c:pt idx="74">
                  <c:v>2874.192</c:v>
                </c:pt>
                <c:pt idx="75">
                  <c:v>3284.5160000000001</c:v>
                </c:pt>
                <c:pt idx="76">
                  <c:v>3163.44</c:v>
                </c:pt>
                <c:pt idx="77">
                  <c:v>3060.0160000000001</c:v>
                </c:pt>
                <c:pt idx="78">
                  <c:v>2860.06</c:v>
                </c:pt>
                <c:pt idx="79">
                  <c:v>2940.1179999999999</c:v>
                </c:pt>
                <c:pt idx="80">
                  <c:v>3171.3130000000001</c:v>
                </c:pt>
                <c:pt idx="81">
                  <c:v>3270.3969999999999</c:v>
                </c:pt>
                <c:pt idx="82">
                  <c:v>3211.308</c:v>
                </c:pt>
                <c:pt idx="83">
                  <c:v>3204.6709999999998</c:v>
                </c:pt>
                <c:pt idx="84">
                  <c:v>3235.8939999999998</c:v>
                </c:pt>
                <c:pt idx="85">
                  <c:v>3287.3310000000001</c:v>
                </c:pt>
                <c:pt idx="86">
                  <c:v>3309.8580000000002</c:v>
                </c:pt>
                <c:pt idx="87">
                  <c:v>3223.098</c:v>
                </c:pt>
                <c:pt idx="88">
                  <c:v>3006.8870000000002</c:v>
                </c:pt>
                <c:pt idx="89">
                  <c:v>2659.5639999999999</c:v>
                </c:pt>
                <c:pt idx="90">
                  <c:v>2592.75</c:v>
                </c:pt>
                <c:pt idx="91">
                  <c:v>2344.2809999999999</c:v>
                </c:pt>
                <c:pt idx="92">
                  <c:v>1775.722</c:v>
                </c:pt>
                <c:pt idx="93">
                  <c:v>1570.816</c:v>
                </c:pt>
                <c:pt idx="94">
                  <c:v>1436.942</c:v>
                </c:pt>
                <c:pt idx="95">
                  <c:v>1284.98</c:v>
                </c:pt>
                <c:pt idx="96">
                  <c:v>1181.2349999999999</c:v>
                </c:pt>
                <c:pt idx="97">
                  <c:v>1194.3969999999999</c:v>
                </c:pt>
                <c:pt idx="98">
                  <c:v>1205.9839999999999</c:v>
                </c:pt>
                <c:pt idx="99">
                  <c:v>1019.899</c:v>
                </c:pt>
                <c:pt idx="100">
                  <c:v>828.21799999999996</c:v>
                </c:pt>
                <c:pt idx="101">
                  <c:v>804.82299999999998</c:v>
                </c:pt>
                <c:pt idx="102">
                  <c:v>617.16899999999998</c:v>
                </c:pt>
                <c:pt idx="103">
                  <c:v>385.089</c:v>
                </c:pt>
                <c:pt idx="104">
                  <c:v>188.90100000000001</c:v>
                </c:pt>
                <c:pt idx="105">
                  <c:v>209.304</c:v>
                </c:pt>
                <c:pt idx="106">
                  <c:v>320.88799999999998</c:v>
                </c:pt>
                <c:pt idx="107">
                  <c:v>397.90100000000001</c:v>
                </c:pt>
                <c:pt idx="108">
                  <c:v>368.40600000000001</c:v>
                </c:pt>
                <c:pt idx="109">
                  <c:v>524.17700000000002</c:v>
                </c:pt>
                <c:pt idx="110">
                  <c:v>772.94799999999998</c:v>
                </c:pt>
                <c:pt idx="111">
                  <c:v>1192.9079999999999</c:v>
                </c:pt>
                <c:pt idx="112">
                  <c:v>1537.499</c:v>
                </c:pt>
                <c:pt idx="113">
                  <c:v>1993.1130000000001</c:v>
                </c:pt>
                <c:pt idx="114">
                  <c:v>2345.8069999999998</c:v>
                </c:pt>
                <c:pt idx="115">
                  <c:v>2600.3420000000001</c:v>
                </c:pt>
                <c:pt idx="116">
                  <c:v>2827.7370000000001</c:v>
                </c:pt>
                <c:pt idx="117">
                  <c:v>3120.0590000000002</c:v>
                </c:pt>
                <c:pt idx="118">
                  <c:v>3267.49</c:v>
                </c:pt>
                <c:pt idx="119">
                  <c:v>3358.163</c:v>
                </c:pt>
                <c:pt idx="120">
                  <c:v>3436.0450000000001</c:v>
                </c:pt>
                <c:pt idx="121">
                  <c:v>3412.0509999999999</c:v>
                </c:pt>
                <c:pt idx="122">
                  <c:v>3390.99</c:v>
                </c:pt>
                <c:pt idx="123">
                  <c:v>3314.049</c:v>
                </c:pt>
                <c:pt idx="124">
                  <c:v>3250.1419999999998</c:v>
                </c:pt>
                <c:pt idx="125">
                  <c:v>3195.1550000000002</c:v>
                </c:pt>
                <c:pt idx="126">
                  <c:v>3114.9</c:v>
                </c:pt>
                <c:pt idx="127">
                  <c:v>2999.0819999999999</c:v>
                </c:pt>
                <c:pt idx="128">
                  <c:v>2615.0120000000002</c:v>
                </c:pt>
                <c:pt idx="129">
                  <c:v>2316.0940000000001</c:v>
                </c:pt>
                <c:pt idx="130">
                  <c:v>2129.0859999999998</c:v>
                </c:pt>
                <c:pt idx="131">
                  <c:v>1846.0940000000001</c:v>
                </c:pt>
                <c:pt idx="132">
                  <c:v>1339.01</c:v>
                </c:pt>
                <c:pt idx="133">
                  <c:v>970.11599999999999</c:v>
                </c:pt>
                <c:pt idx="134">
                  <c:v>884.03300000000002</c:v>
                </c:pt>
                <c:pt idx="135">
                  <c:v>950.01499999999999</c:v>
                </c:pt>
                <c:pt idx="136">
                  <c:v>882.19799999999998</c:v>
                </c:pt>
                <c:pt idx="137">
                  <c:v>623.12</c:v>
                </c:pt>
                <c:pt idx="138">
                  <c:v>398.85899999999998</c:v>
                </c:pt>
                <c:pt idx="139">
                  <c:v>338</c:v>
                </c:pt>
                <c:pt idx="140">
                  <c:v>592</c:v>
                </c:pt>
                <c:pt idx="141">
                  <c:v>1092.8989999999999</c:v>
                </c:pt>
                <c:pt idx="142">
                  <c:v>1717.155</c:v>
                </c:pt>
                <c:pt idx="143">
                  <c:v>1826.364</c:v>
                </c:pt>
                <c:pt idx="144">
                  <c:v>1899.2049999999999</c:v>
                </c:pt>
                <c:pt idx="145">
                  <c:v>1890.268</c:v>
                </c:pt>
                <c:pt idx="146">
                  <c:v>1834.5540000000001</c:v>
                </c:pt>
                <c:pt idx="147">
                  <c:v>1689.69</c:v>
                </c:pt>
                <c:pt idx="148">
                  <c:v>1438.914</c:v>
                </c:pt>
                <c:pt idx="149">
                  <c:v>1185.664</c:v>
                </c:pt>
                <c:pt idx="150">
                  <c:v>1348.85</c:v>
                </c:pt>
                <c:pt idx="151">
                  <c:v>1386.356</c:v>
                </c:pt>
                <c:pt idx="152">
                  <c:v>1256.068</c:v>
                </c:pt>
                <c:pt idx="153">
                  <c:v>1032.7449999999999</c:v>
                </c:pt>
                <c:pt idx="154">
                  <c:v>1191.3869999999999</c:v>
                </c:pt>
                <c:pt idx="155">
                  <c:v>1498.8019999999999</c:v>
                </c:pt>
                <c:pt idx="156">
                  <c:v>1506.9760000000001</c:v>
                </c:pt>
                <c:pt idx="157">
                  <c:v>2250.8490000000002</c:v>
                </c:pt>
                <c:pt idx="158">
                  <c:v>3082.8389999999999</c:v>
                </c:pt>
                <c:pt idx="159">
                  <c:v>3209.3110000000001</c:v>
                </c:pt>
                <c:pt idx="160">
                  <c:v>3294.0819999999999</c:v>
                </c:pt>
                <c:pt idx="161">
                  <c:v>3335.527</c:v>
                </c:pt>
                <c:pt idx="162">
                  <c:v>3237.366</c:v>
                </c:pt>
                <c:pt idx="163">
                  <c:v>3418.7710000000002</c:v>
                </c:pt>
                <c:pt idx="164">
                  <c:v>3485.357</c:v>
                </c:pt>
                <c:pt idx="165">
                  <c:v>3391.5540000000001</c:v>
                </c:pt>
                <c:pt idx="166">
                  <c:v>3152.1970000000001</c:v>
                </c:pt>
                <c:pt idx="167">
                  <c:v>2764.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241-4602-9258-A76CF9AB45C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4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49234096"/>
        <c:axId val="549234488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241-4602-9258-A76CF9AB45C7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H$2:$H$169</c:f>
              <c:numCache>
                <c:formatCode>_(* #,##0_);_(* \(#,##0\);_(* "-"??_);_(@_)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49234096"/>
        <c:axId val="549234488"/>
      </c:lineChart>
      <c:catAx>
        <c:axId val="54923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234488"/>
        <c:crosses val="autoZero"/>
        <c:auto val="1"/>
        <c:lblAlgn val="ctr"/>
        <c:lblOffset val="100"/>
        <c:noMultiLvlLbl val="0"/>
      </c:catAx>
      <c:valAx>
        <c:axId val="549234488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9234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4"/>
        <c:delete val="1"/>
      </c:legendEntry>
      <c:legendEntry>
        <c:idx val="6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Path To 100 Targets Hourly MW For April Week</a:t>
            </a:r>
          </a:p>
        </c:rich>
      </c:tx>
      <c:layout>
        <c:manualLayout>
          <c:xMode val="edge"/>
          <c:yMode val="edge"/>
          <c:x val="0.10026688140852671"/>
          <c:y val="2.49670600817119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19770304910955"/>
          <c:y val="0.19695187801221134"/>
          <c:w val="0.81509376686454393"/>
          <c:h val="0.642776634151967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1.5</c:v>
                </c:pt>
                <c:pt idx="2">
                  <c:v>7345</c:v>
                </c:pt>
                <c:pt idx="3">
                  <c:v>7343.25</c:v>
                </c:pt>
                <c:pt idx="4">
                  <c:v>7342.25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.25</c:v>
                </c:pt>
                <c:pt idx="9">
                  <c:v>7350</c:v>
                </c:pt>
                <c:pt idx="10">
                  <c:v>7351.75</c:v>
                </c:pt>
                <c:pt idx="11">
                  <c:v>7342</c:v>
                </c:pt>
                <c:pt idx="12">
                  <c:v>7345.75</c:v>
                </c:pt>
                <c:pt idx="13">
                  <c:v>7348</c:v>
                </c:pt>
                <c:pt idx="14">
                  <c:v>7346.25</c:v>
                </c:pt>
                <c:pt idx="15">
                  <c:v>7345.25</c:v>
                </c:pt>
                <c:pt idx="16">
                  <c:v>7346</c:v>
                </c:pt>
                <c:pt idx="17">
                  <c:v>7339</c:v>
                </c:pt>
                <c:pt idx="18">
                  <c:v>7343.75</c:v>
                </c:pt>
                <c:pt idx="19">
                  <c:v>7341</c:v>
                </c:pt>
                <c:pt idx="20">
                  <c:v>7344.5</c:v>
                </c:pt>
                <c:pt idx="21">
                  <c:v>7339</c:v>
                </c:pt>
                <c:pt idx="22">
                  <c:v>7343.5</c:v>
                </c:pt>
                <c:pt idx="23">
                  <c:v>7337.25</c:v>
                </c:pt>
                <c:pt idx="24">
                  <c:v>7342.5</c:v>
                </c:pt>
                <c:pt idx="25">
                  <c:v>7337.25</c:v>
                </c:pt>
                <c:pt idx="26">
                  <c:v>7349.75</c:v>
                </c:pt>
                <c:pt idx="27">
                  <c:v>7345.25</c:v>
                </c:pt>
                <c:pt idx="28">
                  <c:v>7344.75</c:v>
                </c:pt>
                <c:pt idx="29">
                  <c:v>7343.25</c:v>
                </c:pt>
                <c:pt idx="30">
                  <c:v>7344.25</c:v>
                </c:pt>
                <c:pt idx="31">
                  <c:v>7348.25</c:v>
                </c:pt>
                <c:pt idx="32">
                  <c:v>7346.5</c:v>
                </c:pt>
                <c:pt idx="33">
                  <c:v>7345.75</c:v>
                </c:pt>
                <c:pt idx="34">
                  <c:v>7349.75</c:v>
                </c:pt>
                <c:pt idx="35">
                  <c:v>7345.25</c:v>
                </c:pt>
                <c:pt idx="36">
                  <c:v>7348</c:v>
                </c:pt>
                <c:pt idx="37">
                  <c:v>7346.5</c:v>
                </c:pt>
                <c:pt idx="38">
                  <c:v>7349.5</c:v>
                </c:pt>
                <c:pt idx="39">
                  <c:v>7348</c:v>
                </c:pt>
                <c:pt idx="40">
                  <c:v>7348.5</c:v>
                </c:pt>
                <c:pt idx="41">
                  <c:v>7351.25</c:v>
                </c:pt>
                <c:pt idx="42">
                  <c:v>7343.5</c:v>
                </c:pt>
                <c:pt idx="43">
                  <c:v>7351.75</c:v>
                </c:pt>
                <c:pt idx="44">
                  <c:v>7351</c:v>
                </c:pt>
                <c:pt idx="45">
                  <c:v>7351.5</c:v>
                </c:pt>
                <c:pt idx="46">
                  <c:v>7351.5</c:v>
                </c:pt>
                <c:pt idx="47">
                  <c:v>7355</c:v>
                </c:pt>
                <c:pt idx="48">
                  <c:v>7350</c:v>
                </c:pt>
                <c:pt idx="49">
                  <c:v>7353.5</c:v>
                </c:pt>
                <c:pt idx="50">
                  <c:v>7348.75</c:v>
                </c:pt>
                <c:pt idx="51">
                  <c:v>7358.5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5.5</c:v>
                </c:pt>
                <c:pt idx="57">
                  <c:v>7358</c:v>
                </c:pt>
                <c:pt idx="58">
                  <c:v>7353.25</c:v>
                </c:pt>
                <c:pt idx="59">
                  <c:v>7360.25</c:v>
                </c:pt>
                <c:pt idx="60">
                  <c:v>7356</c:v>
                </c:pt>
                <c:pt idx="61">
                  <c:v>7350.25</c:v>
                </c:pt>
                <c:pt idx="62">
                  <c:v>7350</c:v>
                </c:pt>
                <c:pt idx="63">
                  <c:v>7355.5</c:v>
                </c:pt>
                <c:pt idx="64">
                  <c:v>7348.25</c:v>
                </c:pt>
                <c:pt idx="65">
                  <c:v>7353.25</c:v>
                </c:pt>
                <c:pt idx="66">
                  <c:v>7350.75</c:v>
                </c:pt>
                <c:pt idx="67">
                  <c:v>7350.25</c:v>
                </c:pt>
                <c:pt idx="68">
                  <c:v>7353.75</c:v>
                </c:pt>
                <c:pt idx="69">
                  <c:v>7355.5</c:v>
                </c:pt>
                <c:pt idx="70">
                  <c:v>7350.5</c:v>
                </c:pt>
                <c:pt idx="71">
                  <c:v>7355.5</c:v>
                </c:pt>
                <c:pt idx="72">
                  <c:v>7357</c:v>
                </c:pt>
                <c:pt idx="73">
                  <c:v>7354.25</c:v>
                </c:pt>
                <c:pt idx="74">
                  <c:v>7352</c:v>
                </c:pt>
                <c:pt idx="75">
                  <c:v>7352.5</c:v>
                </c:pt>
                <c:pt idx="76">
                  <c:v>7359.75</c:v>
                </c:pt>
                <c:pt idx="77">
                  <c:v>7353.75</c:v>
                </c:pt>
                <c:pt idx="78">
                  <c:v>7361</c:v>
                </c:pt>
                <c:pt idx="79">
                  <c:v>7354</c:v>
                </c:pt>
                <c:pt idx="80">
                  <c:v>7356.5</c:v>
                </c:pt>
                <c:pt idx="81">
                  <c:v>7350.5</c:v>
                </c:pt>
                <c:pt idx="82">
                  <c:v>7357.75</c:v>
                </c:pt>
                <c:pt idx="83">
                  <c:v>7350.25</c:v>
                </c:pt>
                <c:pt idx="84">
                  <c:v>7361.75</c:v>
                </c:pt>
                <c:pt idx="85">
                  <c:v>7357.5</c:v>
                </c:pt>
                <c:pt idx="86">
                  <c:v>7353.25</c:v>
                </c:pt>
                <c:pt idx="87">
                  <c:v>7354</c:v>
                </c:pt>
                <c:pt idx="88">
                  <c:v>7360</c:v>
                </c:pt>
                <c:pt idx="89">
                  <c:v>7359.5</c:v>
                </c:pt>
                <c:pt idx="90">
                  <c:v>7360.5</c:v>
                </c:pt>
                <c:pt idx="91">
                  <c:v>7356</c:v>
                </c:pt>
                <c:pt idx="92">
                  <c:v>7357.5</c:v>
                </c:pt>
                <c:pt idx="93">
                  <c:v>7359.5</c:v>
                </c:pt>
                <c:pt idx="94">
                  <c:v>7357</c:v>
                </c:pt>
                <c:pt idx="95">
                  <c:v>7357</c:v>
                </c:pt>
                <c:pt idx="96">
                  <c:v>7361.5</c:v>
                </c:pt>
                <c:pt idx="97">
                  <c:v>7358</c:v>
                </c:pt>
                <c:pt idx="98">
                  <c:v>7358</c:v>
                </c:pt>
                <c:pt idx="99">
                  <c:v>7356.75</c:v>
                </c:pt>
                <c:pt idx="100">
                  <c:v>7356</c:v>
                </c:pt>
                <c:pt idx="101">
                  <c:v>7359</c:v>
                </c:pt>
                <c:pt idx="102">
                  <c:v>7361.25</c:v>
                </c:pt>
                <c:pt idx="103">
                  <c:v>7357.5</c:v>
                </c:pt>
                <c:pt idx="104">
                  <c:v>7355.5</c:v>
                </c:pt>
                <c:pt idx="105">
                  <c:v>7361.5</c:v>
                </c:pt>
                <c:pt idx="106">
                  <c:v>7360.75</c:v>
                </c:pt>
                <c:pt idx="107">
                  <c:v>7355.5</c:v>
                </c:pt>
                <c:pt idx="108">
                  <c:v>7350.25</c:v>
                </c:pt>
                <c:pt idx="109">
                  <c:v>7356.75</c:v>
                </c:pt>
                <c:pt idx="110">
                  <c:v>7355.25</c:v>
                </c:pt>
                <c:pt idx="111">
                  <c:v>7352</c:v>
                </c:pt>
                <c:pt idx="112">
                  <c:v>7353.75</c:v>
                </c:pt>
                <c:pt idx="113">
                  <c:v>7352.25</c:v>
                </c:pt>
                <c:pt idx="114">
                  <c:v>7355.5</c:v>
                </c:pt>
                <c:pt idx="115">
                  <c:v>7355.75</c:v>
                </c:pt>
                <c:pt idx="116">
                  <c:v>7347.75</c:v>
                </c:pt>
                <c:pt idx="117">
                  <c:v>7356</c:v>
                </c:pt>
                <c:pt idx="118">
                  <c:v>7344.25</c:v>
                </c:pt>
                <c:pt idx="119">
                  <c:v>7354.75</c:v>
                </c:pt>
                <c:pt idx="120">
                  <c:v>7352</c:v>
                </c:pt>
                <c:pt idx="121">
                  <c:v>7353</c:v>
                </c:pt>
                <c:pt idx="122">
                  <c:v>7350.75</c:v>
                </c:pt>
                <c:pt idx="123">
                  <c:v>7352.5</c:v>
                </c:pt>
                <c:pt idx="124">
                  <c:v>7352</c:v>
                </c:pt>
                <c:pt idx="125">
                  <c:v>7353.5</c:v>
                </c:pt>
                <c:pt idx="126">
                  <c:v>7349.75</c:v>
                </c:pt>
                <c:pt idx="127">
                  <c:v>7351.75</c:v>
                </c:pt>
                <c:pt idx="128">
                  <c:v>7346.25</c:v>
                </c:pt>
                <c:pt idx="129">
                  <c:v>7346.5</c:v>
                </c:pt>
                <c:pt idx="130">
                  <c:v>7344</c:v>
                </c:pt>
                <c:pt idx="131">
                  <c:v>7342.5</c:v>
                </c:pt>
                <c:pt idx="132">
                  <c:v>7339.25</c:v>
                </c:pt>
                <c:pt idx="133">
                  <c:v>7338.5</c:v>
                </c:pt>
                <c:pt idx="134">
                  <c:v>7339.25</c:v>
                </c:pt>
                <c:pt idx="135">
                  <c:v>7336.5</c:v>
                </c:pt>
                <c:pt idx="136">
                  <c:v>7331.5</c:v>
                </c:pt>
                <c:pt idx="137">
                  <c:v>7334.25</c:v>
                </c:pt>
                <c:pt idx="138">
                  <c:v>7336.5</c:v>
                </c:pt>
                <c:pt idx="139">
                  <c:v>7338.75</c:v>
                </c:pt>
                <c:pt idx="140">
                  <c:v>7342.5</c:v>
                </c:pt>
                <c:pt idx="141">
                  <c:v>7339.75</c:v>
                </c:pt>
                <c:pt idx="142">
                  <c:v>7339.5</c:v>
                </c:pt>
                <c:pt idx="143">
                  <c:v>7343.5</c:v>
                </c:pt>
                <c:pt idx="144">
                  <c:v>7347.5</c:v>
                </c:pt>
                <c:pt idx="145">
                  <c:v>7348.75</c:v>
                </c:pt>
                <c:pt idx="146">
                  <c:v>7341.25</c:v>
                </c:pt>
                <c:pt idx="147">
                  <c:v>7340.75</c:v>
                </c:pt>
                <c:pt idx="148">
                  <c:v>7344.75</c:v>
                </c:pt>
                <c:pt idx="149">
                  <c:v>7343.75</c:v>
                </c:pt>
                <c:pt idx="150">
                  <c:v>7339.75</c:v>
                </c:pt>
                <c:pt idx="151">
                  <c:v>7337.5</c:v>
                </c:pt>
                <c:pt idx="152">
                  <c:v>7339.5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.25</c:v>
                </c:pt>
                <c:pt idx="157">
                  <c:v>7326.5</c:v>
                </c:pt>
                <c:pt idx="158">
                  <c:v>7325.5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.25</c:v>
                </c:pt>
                <c:pt idx="164">
                  <c:v>7319.5</c:v>
                </c:pt>
                <c:pt idx="165">
                  <c:v>7315.75</c:v>
                </c:pt>
                <c:pt idx="166">
                  <c:v>7321</c:v>
                </c:pt>
                <c:pt idx="167">
                  <c:v>787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41-4602-9258-A76CF9AB45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 formatCode="_(* #,##0_);_(* \(#,##0\);_(* &quot;-&quot;??_);_(@_)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41-4602-9258-A76CF9AB45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D$2:$D$169</c:f>
              <c:numCache>
                <c:formatCode>#,##0</c:formatCode>
                <c:ptCount val="168"/>
                <c:pt idx="0">
                  <c:v>3295.59</c:v>
                </c:pt>
                <c:pt idx="1">
                  <c:v>3299.1970000000001</c:v>
                </c:pt>
                <c:pt idx="2">
                  <c:v>3273.0219999999999</c:v>
                </c:pt>
                <c:pt idx="3">
                  <c:v>3279.9009999999998</c:v>
                </c:pt>
                <c:pt idx="4">
                  <c:v>3290.9090000000001</c:v>
                </c:pt>
                <c:pt idx="5">
                  <c:v>3333.3249999999998</c:v>
                </c:pt>
                <c:pt idx="6">
                  <c:v>3369.96</c:v>
                </c:pt>
                <c:pt idx="7">
                  <c:v>3392.1959999999999</c:v>
                </c:pt>
                <c:pt idx="8">
                  <c:v>3419.6660000000002</c:v>
                </c:pt>
                <c:pt idx="9">
                  <c:v>3287.6619999999998</c:v>
                </c:pt>
                <c:pt idx="10">
                  <c:v>3143.4470000000001</c:v>
                </c:pt>
                <c:pt idx="11">
                  <c:v>3060.3270000000002</c:v>
                </c:pt>
                <c:pt idx="12">
                  <c:v>3059.0639999999999</c:v>
                </c:pt>
                <c:pt idx="13">
                  <c:v>2846.788</c:v>
                </c:pt>
                <c:pt idx="14">
                  <c:v>2665.79</c:v>
                </c:pt>
                <c:pt idx="15">
                  <c:v>2777.2280000000001</c:v>
                </c:pt>
                <c:pt idx="16">
                  <c:v>2798.4450000000002</c:v>
                </c:pt>
                <c:pt idx="17">
                  <c:v>2786.9690000000001</c:v>
                </c:pt>
                <c:pt idx="18">
                  <c:v>2826.25</c:v>
                </c:pt>
                <c:pt idx="19">
                  <c:v>2694.68</c:v>
                </c:pt>
                <c:pt idx="20">
                  <c:v>2872.0909999999999</c:v>
                </c:pt>
                <c:pt idx="21">
                  <c:v>3058.3809999999999</c:v>
                </c:pt>
                <c:pt idx="22">
                  <c:v>3009.2440000000001</c:v>
                </c:pt>
                <c:pt idx="23">
                  <c:v>2656.7159999999999</c:v>
                </c:pt>
                <c:pt idx="24">
                  <c:v>2227.6060000000002</c:v>
                </c:pt>
                <c:pt idx="25">
                  <c:v>2436.1779999999999</c:v>
                </c:pt>
                <c:pt idx="26">
                  <c:v>2638.07</c:v>
                </c:pt>
                <c:pt idx="27">
                  <c:v>2268.5630000000001</c:v>
                </c:pt>
                <c:pt idx="28">
                  <c:v>2399.9009999999998</c:v>
                </c:pt>
                <c:pt idx="29">
                  <c:v>2673.8150000000001</c:v>
                </c:pt>
                <c:pt idx="30">
                  <c:v>2920.3319999999999</c:v>
                </c:pt>
                <c:pt idx="31">
                  <c:v>3122.8359999999998</c:v>
                </c:pt>
                <c:pt idx="32">
                  <c:v>3439.1860000000001</c:v>
                </c:pt>
                <c:pt idx="33">
                  <c:v>3500.2669999999998</c:v>
                </c:pt>
                <c:pt idx="34">
                  <c:v>3523.9259999999999</c:v>
                </c:pt>
                <c:pt idx="35">
                  <c:v>3522.4920000000002</c:v>
                </c:pt>
                <c:pt idx="36">
                  <c:v>3530.4360000000001</c:v>
                </c:pt>
                <c:pt idx="37">
                  <c:v>3515.0889999999999</c:v>
                </c:pt>
                <c:pt idx="38">
                  <c:v>3514.5149999999999</c:v>
                </c:pt>
                <c:pt idx="39">
                  <c:v>3515.9580000000001</c:v>
                </c:pt>
                <c:pt idx="40">
                  <c:v>3524.42</c:v>
                </c:pt>
                <c:pt idx="41">
                  <c:v>3503.4830000000002</c:v>
                </c:pt>
                <c:pt idx="42">
                  <c:v>3397.9209999999998</c:v>
                </c:pt>
                <c:pt idx="43">
                  <c:v>2758.24</c:v>
                </c:pt>
                <c:pt idx="44">
                  <c:v>2031.307</c:v>
                </c:pt>
                <c:pt idx="45">
                  <c:v>1866.107</c:v>
                </c:pt>
                <c:pt idx="46">
                  <c:v>1490.28</c:v>
                </c:pt>
                <c:pt idx="47">
                  <c:v>1363.8589999999999</c:v>
                </c:pt>
                <c:pt idx="48">
                  <c:v>1349.865</c:v>
                </c:pt>
                <c:pt idx="49">
                  <c:v>1457.5820000000001</c:v>
                </c:pt>
                <c:pt idx="50">
                  <c:v>1678.4839999999999</c:v>
                </c:pt>
                <c:pt idx="51">
                  <c:v>1919.296</c:v>
                </c:pt>
                <c:pt idx="52">
                  <c:v>1745.2840000000001</c:v>
                </c:pt>
                <c:pt idx="53">
                  <c:v>1556.327</c:v>
                </c:pt>
                <c:pt idx="54">
                  <c:v>1450.8520000000001</c:v>
                </c:pt>
                <c:pt idx="55">
                  <c:v>1167.3230000000001</c:v>
                </c:pt>
                <c:pt idx="56">
                  <c:v>869.78499999999997</c:v>
                </c:pt>
                <c:pt idx="57">
                  <c:v>1161.558</c:v>
                </c:pt>
                <c:pt idx="58">
                  <c:v>1026.712</c:v>
                </c:pt>
                <c:pt idx="59">
                  <c:v>955.81399999999996</c:v>
                </c:pt>
                <c:pt idx="60">
                  <c:v>1159.3240000000001</c:v>
                </c:pt>
                <c:pt idx="61">
                  <c:v>1180.826</c:v>
                </c:pt>
                <c:pt idx="62">
                  <c:v>958.27300000000002</c:v>
                </c:pt>
                <c:pt idx="63">
                  <c:v>764.36300000000006</c:v>
                </c:pt>
                <c:pt idx="64">
                  <c:v>631.58699999999999</c:v>
                </c:pt>
                <c:pt idx="65">
                  <c:v>424.28</c:v>
                </c:pt>
                <c:pt idx="66">
                  <c:v>625.678</c:v>
                </c:pt>
                <c:pt idx="67">
                  <c:v>827.20399999999995</c:v>
                </c:pt>
                <c:pt idx="68">
                  <c:v>1143.6569999999999</c:v>
                </c:pt>
                <c:pt idx="69">
                  <c:v>1824.2280000000001</c:v>
                </c:pt>
                <c:pt idx="70">
                  <c:v>1889.7829999999999</c:v>
                </c:pt>
                <c:pt idx="71">
                  <c:v>1685.742</c:v>
                </c:pt>
                <c:pt idx="72">
                  <c:v>2055.6379999999999</c:v>
                </c:pt>
                <c:pt idx="73">
                  <c:v>2150.2809999999999</c:v>
                </c:pt>
                <c:pt idx="74">
                  <c:v>2874.192</c:v>
                </c:pt>
                <c:pt idx="75">
                  <c:v>3284.5160000000001</c:v>
                </c:pt>
                <c:pt idx="76">
                  <c:v>3163.44</c:v>
                </c:pt>
                <c:pt idx="77">
                  <c:v>3060.0160000000001</c:v>
                </c:pt>
                <c:pt idx="78">
                  <c:v>2860.06</c:v>
                </c:pt>
                <c:pt idx="79">
                  <c:v>2940.1179999999999</c:v>
                </c:pt>
                <c:pt idx="80">
                  <c:v>3171.3130000000001</c:v>
                </c:pt>
                <c:pt idx="81">
                  <c:v>3270.3969999999999</c:v>
                </c:pt>
                <c:pt idx="82">
                  <c:v>3211.308</c:v>
                </c:pt>
                <c:pt idx="83">
                  <c:v>3204.6709999999998</c:v>
                </c:pt>
                <c:pt idx="84">
                  <c:v>3235.8939999999998</c:v>
                </c:pt>
                <c:pt idx="85">
                  <c:v>3287.3310000000001</c:v>
                </c:pt>
                <c:pt idx="86">
                  <c:v>3309.8580000000002</c:v>
                </c:pt>
                <c:pt idx="87">
                  <c:v>3223.098</c:v>
                </c:pt>
                <c:pt idx="88">
                  <c:v>3006.8870000000002</c:v>
                </c:pt>
                <c:pt idx="89">
                  <c:v>2659.5639999999999</c:v>
                </c:pt>
                <c:pt idx="90">
                  <c:v>2592.75</c:v>
                </c:pt>
                <c:pt idx="91">
                  <c:v>2344.2809999999999</c:v>
                </c:pt>
                <c:pt idx="92">
                  <c:v>1775.722</c:v>
                </c:pt>
                <c:pt idx="93">
                  <c:v>1570.816</c:v>
                </c:pt>
                <c:pt idx="94">
                  <c:v>1436.942</c:v>
                </c:pt>
                <c:pt idx="95">
                  <c:v>1284.98</c:v>
                </c:pt>
                <c:pt idx="96">
                  <c:v>1181.2349999999999</c:v>
                </c:pt>
                <c:pt idx="97">
                  <c:v>1194.3969999999999</c:v>
                </c:pt>
                <c:pt idx="98">
                  <c:v>1205.9839999999999</c:v>
                </c:pt>
                <c:pt idx="99">
                  <c:v>1019.899</c:v>
                </c:pt>
                <c:pt idx="100">
                  <c:v>828.21799999999996</c:v>
                </c:pt>
                <c:pt idx="101">
                  <c:v>804.82299999999998</c:v>
                </c:pt>
                <c:pt idx="102">
                  <c:v>617.16899999999998</c:v>
                </c:pt>
                <c:pt idx="103">
                  <c:v>385.089</c:v>
                </c:pt>
                <c:pt idx="104">
                  <c:v>188.90100000000001</c:v>
                </c:pt>
                <c:pt idx="105">
                  <c:v>209.304</c:v>
                </c:pt>
                <c:pt idx="106">
                  <c:v>320.88799999999998</c:v>
                </c:pt>
                <c:pt idx="107">
                  <c:v>397.90100000000001</c:v>
                </c:pt>
                <c:pt idx="108">
                  <c:v>368.40600000000001</c:v>
                </c:pt>
                <c:pt idx="109">
                  <c:v>524.17700000000002</c:v>
                </c:pt>
                <c:pt idx="110">
                  <c:v>772.94799999999998</c:v>
                </c:pt>
                <c:pt idx="111">
                  <c:v>1192.9079999999999</c:v>
                </c:pt>
                <c:pt idx="112">
                  <c:v>1537.499</c:v>
                </c:pt>
                <c:pt idx="113">
                  <c:v>1993.1130000000001</c:v>
                </c:pt>
                <c:pt idx="114">
                  <c:v>2345.8069999999998</c:v>
                </c:pt>
                <c:pt idx="115">
                  <c:v>2600.3420000000001</c:v>
                </c:pt>
                <c:pt idx="116">
                  <c:v>2827.7370000000001</c:v>
                </c:pt>
                <c:pt idx="117">
                  <c:v>3120.0590000000002</c:v>
                </c:pt>
                <c:pt idx="118">
                  <c:v>3267.49</c:v>
                </c:pt>
                <c:pt idx="119">
                  <c:v>3358.163</c:v>
                </c:pt>
                <c:pt idx="120">
                  <c:v>3436.0450000000001</c:v>
                </c:pt>
                <c:pt idx="121">
                  <c:v>3412.0509999999999</c:v>
                </c:pt>
                <c:pt idx="122">
                  <c:v>3390.99</c:v>
                </c:pt>
                <c:pt idx="123">
                  <c:v>3314.049</c:v>
                </c:pt>
                <c:pt idx="124">
                  <c:v>3250.1419999999998</c:v>
                </c:pt>
                <c:pt idx="125">
                  <c:v>3195.1550000000002</c:v>
                </c:pt>
                <c:pt idx="126">
                  <c:v>3114.9</c:v>
                </c:pt>
                <c:pt idx="127">
                  <c:v>2999.0819999999999</c:v>
                </c:pt>
                <c:pt idx="128">
                  <c:v>2615.0120000000002</c:v>
                </c:pt>
                <c:pt idx="129">
                  <c:v>2316.0940000000001</c:v>
                </c:pt>
                <c:pt idx="130">
                  <c:v>2129.0859999999998</c:v>
                </c:pt>
                <c:pt idx="131">
                  <c:v>1846.0940000000001</c:v>
                </c:pt>
                <c:pt idx="132">
                  <c:v>1339.01</c:v>
                </c:pt>
                <c:pt idx="133">
                  <c:v>970.11599999999999</c:v>
                </c:pt>
                <c:pt idx="134">
                  <c:v>884.03300000000002</c:v>
                </c:pt>
                <c:pt idx="135">
                  <c:v>950.01499999999999</c:v>
                </c:pt>
                <c:pt idx="136">
                  <c:v>882.19799999999998</c:v>
                </c:pt>
                <c:pt idx="137">
                  <c:v>623.12</c:v>
                </c:pt>
                <c:pt idx="138">
                  <c:v>398.85899999999998</c:v>
                </c:pt>
                <c:pt idx="139">
                  <c:v>338</c:v>
                </c:pt>
                <c:pt idx="140">
                  <c:v>592</c:v>
                </c:pt>
                <c:pt idx="141">
                  <c:v>1092.8989999999999</c:v>
                </c:pt>
                <c:pt idx="142">
                  <c:v>1717.155</c:v>
                </c:pt>
                <c:pt idx="143">
                  <c:v>1826.364</c:v>
                </c:pt>
                <c:pt idx="144">
                  <c:v>1899.2049999999999</c:v>
                </c:pt>
                <c:pt idx="145">
                  <c:v>1890.268</c:v>
                </c:pt>
                <c:pt idx="146">
                  <c:v>1834.5540000000001</c:v>
                </c:pt>
                <c:pt idx="147">
                  <c:v>1689.69</c:v>
                </c:pt>
                <c:pt idx="148">
                  <c:v>1438.914</c:v>
                </c:pt>
                <c:pt idx="149">
                  <c:v>1185.664</c:v>
                </c:pt>
                <c:pt idx="150">
                  <c:v>1348.85</c:v>
                </c:pt>
                <c:pt idx="151">
                  <c:v>1386.356</c:v>
                </c:pt>
                <c:pt idx="152">
                  <c:v>1256.068</c:v>
                </c:pt>
                <c:pt idx="153">
                  <c:v>1032.7449999999999</c:v>
                </c:pt>
                <c:pt idx="154">
                  <c:v>1191.3869999999999</c:v>
                </c:pt>
                <c:pt idx="155">
                  <c:v>1498.8019999999999</c:v>
                </c:pt>
                <c:pt idx="156">
                  <c:v>1506.9760000000001</c:v>
                </c:pt>
                <c:pt idx="157">
                  <c:v>2250.8490000000002</c:v>
                </c:pt>
                <c:pt idx="158">
                  <c:v>3082.8389999999999</c:v>
                </c:pt>
                <c:pt idx="159">
                  <c:v>3209.3110000000001</c:v>
                </c:pt>
                <c:pt idx="160">
                  <c:v>3294.0819999999999</c:v>
                </c:pt>
                <c:pt idx="161">
                  <c:v>3335.527</c:v>
                </c:pt>
                <c:pt idx="162">
                  <c:v>3237.366</c:v>
                </c:pt>
                <c:pt idx="163">
                  <c:v>3418.7710000000002</c:v>
                </c:pt>
                <c:pt idx="164">
                  <c:v>3485.357</c:v>
                </c:pt>
                <c:pt idx="165">
                  <c:v>3391.5540000000001</c:v>
                </c:pt>
                <c:pt idx="166">
                  <c:v>3152.1970000000001</c:v>
                </c:pt>
                <c:pt idx="167" formatCode="_(* #,##0_);_(* \(#,##0\);_(* &quot;-&quot;??_);_(@_)">
                  <c:v>2764.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41-4602-9258-A76CF9AB45C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E$2:$E$169</c:f>
              <c:numCache>
                <c:formatCode>_(* #,##0_);_(* \(#,##0\);_(* "-"??_);_(@_)</c:formatCode>
                <c:ptCount val="168"/>
                <c:pt idx="0">
                  <c:v>3295.59</c:v>
                </c:pt>
                <c:pt idx="1">
                  <c:v>3299.1970000000001</c:v>
                </c:pt>
                <c:pt idx="2">
                  <c:v>3273.0219999999999</c:v>
                </c:pt>
                <c:pt idx="3">
                  <c:v>3279.9009999999998</c:v>
                </c:pt>
                <c:pt idx="4">
                  <c:v>3290.9090000000001</c:v>
                </c:pt>
                <c:pt idx="5">
                  <c:v>3333.3249999999998</c:v>
                </c:pt>
                <c:pt idx="6">
                  <c:v>3369.96</c:v>
                </c:pt>
                <c:pt idx="7">
                  <c:v>3392.1959999999999</c:v>
                </c:pt>
                <c:pt idx="8">
                  <c:v>3419.6660000000002</c:v>
                </c:pt>
                <c:pt idx="9">
                  <c:v>3287.6619999999998</c:v>
                </c:pt>
                <c:pt idx="10">
                  <c:v>3143.4470000000001</c:v>
                </c:pt>
                <c:pt idx="11">
                  <c:v>3060.3270000000002</c:v>
                </c:pt>
                <c:pt idx="12">
                  <c:v>3059.0639999999999</c:v>
                </c:pt>
                <c:pt idx="13">
                  <c:v>2846.788</c:v>
                </c:pt>
                <c:pt idx="14">
                  <c:v>2665.79</c:v>
                </c:pt>
                <c:pt idx="15">
                  <c:v>2777.2280000000001</c:v>
                </c:pt>
                <c:pt idx="16">
                  <c:v>2798.4450000000002</c:v>
                </c:pt>
                <c:pt idx="17">
                  <c:v>2786.9690000000001</c:v>
                </c:pt>
                <c:pt idx="18">
                  <c:v>2826.25</c:v>
                </c:pt>
                <c:pt idx="19">
                  <c:v>2694.68</c:v>
                </c:pt>
                <c:pt idx="20">
                  <c:v>2872.0909999999999</c:v>
                </c:pt>
                <c:pt idx="21">
                  <c:v>3058.3809999999999</c:v>
                </c:pt>
                <c:pt idx="22">
                  <c:v>3009.2440000000001</c:v>
                </c:pt>
                <c:pt idx="23">
                  <c:v>2656.7159999999999</c:v>
                </c:pt>
                <c:pt idx="24">
                  <c:v>2227.6060000000002</c:v>
                </c:pt>
                <c:pt idx="25">
                  <c:v>2436.1779999999999</c:v>
                </c:pt>
                <c:pt idx="26">
                  <c:v>2638.07</c:v>
                </c:pt>
                <c:pt idx="27">
                  <c:v>2268.5630000000001</c:v>
                </c:pt>
                <c:pt idx="28">
                  <c:v>2399.9009999999998</c:v>
                </c:pt>
                <c:pt idx="29">
                  <c:v>2673.8150000000001</c:v>
                </c:pt>
                <c:pt idx="30">
                  <c:v>2920.3319999999999</c:v>
                </c:pt>
                <c:pt idx="31">
                  <c:v>3122.8359999999998</c:v>
                </c:pt>
                <c:pt idx="32">
                  <c:v>3439.1860000000001</c:v>
                </c:pt>
                <c:pt idx="33">
                  <c:v>3500.2669999999998</c:v>
                </c:pt>
                <c:pt idx="34">
                  <c:v>3523.9259999999999</c:v>
                </c:pt>
                <c:pt idx="35">
                  <c:v>3522.4920000000002</c:v>
                </c:pt>
                <c:pt idx="36">
                  <c:v>3530.4360000000001</c:v>
                </c:pt>
                <c:pt idx="37">
                  <c:v>3515.0889999999999</c:v>
                </c:pt>
                <c:pt idx="38">
                  <c:v>3514.5149999999999</c:v>
                </c:pt>
                <c:pt idx="39">
                  <c:v>3515.9580000000001</c:v>
                </c:pt>
                <c:pt idx="40">
                  <c:v>3524.42</c:v>
                </c:pt>
                <c:pt idx="41">
                  <c:v>3503.4830000000002</c:v>
                </c:pt>
                <c:pt idx="42">
                  <c:v>3397.9209999999998</c:v>
                </c:pt>
                <c:pt idx="43">
                  <c:v>2758.24</c:v>
                </c:pt>
                <c:pt idx="44">
                  <c:v>2031.307</c:v>
                </c:pt>
                <c:pt idx="45">
                  <c:v>1866.107</c:v>
                </c:pt>
                <c:pt idx="46">
                  <c:v>1490.28</c:v>
                </c:pt>
                <c:pt idx="47">
                  <c:v>1363.8589999999999</c:v>
                </c:pt>
                <c:pt idx="48">
                  <c:v>1349.865</c:v>
                </c:pt>
                <c:pt idx="49">
                  <c:v>1457.5820000000001</c:v>
                </c:pt>
                <c:pt idx="50">
                  <c:v>1678.4839999999999</c:v>
                </c:pt>
                <c:pt idx="51">
                  <c:v>1919.296</c:v>
                </c:pt>
                <c:pt idx="52">
                  <c:v>1745.2840000000001</c:v>
                </c:pt>
                <c:pt idx="53">
                  <c:v>1556.327</c:v>
                </c:pt>
                <c:pt idx="54">
                  <c:v>1450.8520000000001</c:v>
                </c:pt>
                <c:pt idx="55">
                  <c:v>1167.3230000000001</c:v>
                </c:pt>
                <c:pt idx="56">
                  <c:v>869.78499999999997</c:v>
                </c:pt>
                <c:pt idx="57">
                  <c:v>1161.558</c:v>
                </c:pt>
                <c:pt idx="58">
                  <c:v>1026.712</c:v>
                </c:pt>
                <c:pt idx="59">
                  <c:v>955.81399999999996</c:v>
                </c:pt>
                <c:pt idx="60">
                  <c:v>1159.3240000000001</c:v>
                </c:pt>
                <c:pt idx="61">
                  <c:v>1180.826</c:v>
                </c:pt>
                <c:pt idx="62">
                  <c:v>958.27300000000002</c:v>
                </c:pt>
                <c:pt idx="63">
                  <c:v>764.36300000000006</c:v>
                </c:pt>
                <c:pt idx="64">
                  <c:v>631.58699999999999</c:v>
                </c:pt>
                <c:pt idx="65">
                  <c:v>424.28</c:v>
                </c:pt>
                <c:pt idx="66">
                  <c:v>625.678</c:v>
                </c:pt>
                <c:pt idx="67">
                  <c:v>827.20399999999995</c:v>
                </c:pt>
                <c:pt idx="68">
                  <c:v>1143.6569999999999</c:v>
                </c:pt>
                <c:pt idx="69">
                  <c:v>1824.2280000000001</c:v>
                </c:pt>
                <c:pt idx="70">
                  <c:v>1889.7829999999999</c:v>
                </c:pt>
                <c:pt idx="71">
                  <c:v>1685.742</c:v>
                </c:pt>
                <c:pt idx="72">
                  <c:v>2055.6379999999999</c:v>
                </c:pt>
                <c:pt idx="73">
                  <c:v>2150.2809999999999</c:v>
                </c:pt>
                <c:pt idx="74">
                  <c:v>2874.192</c:v>
                </c:pt>
                <c:pt idx="75">
                  <c:v>3284.5160000000001</c:v>
                </c:pt>
                <c:pt idx="76">
                  <c:v>3163.44</c:v>
                </c:pt>
                <c:pt idx="77">
                  <c:v>3060.0160000000001</c:v>
                </c:pt>
                <c:pt idx="78">
                  <c:v>2860.06</c:v>
                </c:pt>
                <c:pt idx="79">
                  <c:v>2940.1179999999999</c:v>
                </c:pt>
                <c:pt idx="80">
                  <c:v>3171.3130000000001</c:v>
                </c:pt>
                <c:pt idx="81">
                  <c:v>3270.3969999999999</c:v>
                </c:pt>
                <c:pt idx="82">
                  <c:v>3211.308</c:v>
                </c:pt>
                <c:pt idx="83">
                  <c:v>3204.6709999999998</c:v>
                </c:pt>
                <c:pt idx="84">
                  <c:v>3235.8939999999998</c:v>
                </c:pt>
                <c:pt idx="85">
                  <c:v>3287.3310000000001</c:v>
                </c:pt>
                <c:pt idx="86">
                  <c:v>3309.8580000000002</c:v>
                </c:pt>
                <c:pt idx="87">
                  <c:v>3223.098</c:v>
                </c:pt>
                <c:pt idx="88">
                  <c:v>3006.8870000000002</c:v>
                </c:pt>
                <c:pt idx="89">
                  <c:v>2659.5639999999999</c:v>
                </c:pt>
                <c:pt idx="90">
                  <c:v>2592.75</c:v>
                </c:pt>
                <c:pt idx="91">
                  <c:v>2344.2809999999999</c:v>
                </c:pt>
                <c:pt idx="92">
                  <c:v>1775.722</c:v>
                </c:pt>
                <c:pt idx="93">
                  <c:v>1570.816</c:v>
                </c:pt>
                <c:pt idx="94">
                  <c:v>1436.942</c:v>
                </c:pt>
                <c:pt idx="95">
                  <c:v>1284.98</c:v>
                </c:pt>
                <c:pt idx="96">
                  <c:v>1181.2349999999999</c:v>
                </c:pt>
                <c:pt idx="97">
                  <c:v>1194.3969999999999</c:v>
                </c:pt>
                <c:pt idx="98">
                  <c:v>1205.9839999999999</c:v>
                </c:pt>
                <c:pt idx="99">
                  <c:v>1019.899</c:v>
                </c:pt>
                <c:pt idx="100">
                  <c:v>828.21799999999996</c:v>
                </c:pt>
                <c:pt idx="101">
                  <c:v>804.82299999999998</c:v>
                </c:pt>
                <c:pt idx="102">
                  <c:v>617.16899999999998</c:v>
                </c:pt>
                <c:pt idx="103">
                  <c:v>385.089</c:v>
                </c:pt>
                <c:pt idx="104">
                  <c:v>188.90100000000001</c:v>
                </c:pt>
                <c:pt idx="105">
                  <c:v>209.304</c:v>
                </c:pt>
                <c:pt idx="106">
                  <c:v>320.88799999999998</c:v>
                </c:pt>
                <c:pt idx="107">
                  <c:v>397.90100000000001</c:v>
                </c:pt>
                <c:pt idx="108">
                  <c:v>368.40600000000001</c:v>
                </c:pt>
                <c:pt idx="109">
                  <c:v>524.17700000000002</c:v>
                </c:pt>
                <c:pt idx="110">
                  <c:v>772.94799999999998</c:v>
                </c:pt>
                <c:pt idx="111">
                  <c:v>1192.9079999999999</c:v>
                </c:pt>
                <c:pt idx="112">
                  <c:v>1537.499</c:v>
                </c:pt>
                <c:pt idx="113">
                  <c:v>1993.1130000000001</c:v>
                </c:pt>
                <c:pt idx="114">
                  <c:v>2345.8069999999998</c:v>
                </c:pt>
                <c:pt idx="115">
                  <c:v>2600.3420000000001</c:v>
                </c:pt>
                <c:pt idx="116">
                  <c:v>2827.7370000000001</c:v>
                </c:pt>
                <c:pt idx="117">
                  <c:v>3120.0590000000002</c:v>
                </c:pt>
                <c:pt idx="118">
                  <c:v>3267.49</c:v>
                </c:pt>
                <c:pt idx="119">
                  <c:v>3358.163</c:v>
                </c:pt>
                <c:pt idx="120">
                  <c:v>3436.0450000000001</c:v>
                </c:pt>
                <c:pt idx="121">
                  <c:v>3412.0509999999999</c:v>
                </c:pt>
                <c:pt idx="122">
                  <c:v>3390.99</c:v>
                </c:pt>
                <c:pt idx="123">
                  <c:v>3314.049</c:v>
                </c:pt>
                <c:pt idx="124">
                  <c:v>3250.1419999999998</c:v>
                </c:pt>
                <c:pt idx="125">
                  <c:v>3195.1550000000002</c:v>
                </c:pt>
                <c:pt idx="126">
                  <c:v>3114.9</c:v>
                </c:pt>
                <c:pt idx="127">
                  <c:v>2999.0819999999999</c:v>
                </c:pt>
                <c:pt idx="128">
                  <c:v>2615.0120000000002</c:v>
                </c:pt>
                <c:pt idx="129">
                  <c:v>2316.0940000000001</c:v>
                </c:pt>
                <c:pt idx="130">
                  <c:v>2129.0859999999998</c:v>
                </c:pt>
                <c:pt idx="131">
                  <c:v>1846.0940000000001</c:v>
                </c:pt>
                <c:pt idx="132">
                  <c:v>1339.01</c:v>
                </c:pt>
                <c:pt idx="133">
                  <c:v>970.11599999999999</c:v>
                </c:pt>
                <c:pt idx="134">
                  <c:v>884.03300000000002</c:v>
                </c:pt>
                <c:pt idx="135">
                  <c:v>950.01499999999999</c:v>
                </c:pt>
                <c:pt idx="136">
                  <c:v>882.19799999999998</c:v>
                </c:pt>
                <c:pt idx="137">
                  <c:v>623.12</c:v>
                </c:pt>
                <c:pt idx="138">
                  <c:v>398.85899999999998</c:v>
                </c:pt>
                <c:pt idx="139">
                  <c:v>338</c:v>
                </c:pt>
                <c:pt idx="140">
                  <c:v>592</c:v>
                </c:pt>
                <c:pt idx="141">
                  <c:v>1092.8989999999999</c:v>
                </c:pt>
                <c:pt idx="142">
                  <c:v>1717.155</c:v>
                </c:pt>
                <c:pt idx="143">
                  <c:v>1826.364</c:v>
                </c:pt>
                <c:pt idx="144">
                  <c:v>1899.2049999999999</c:v>
                </c:pt>
                <c:pt idx="145">
                  <c:v>1890.268</c:v>
                </c:pt>
                <c:pt idx="146">
                  <c:v>1834.5540000000001</c:v>
                </c:pt>
                <c:pt idx="147">
                  <c:v>1689.69</c:v>
                </c:pt>
                <c:pt idx="148">
                  <c:v>1438.914</c:v>
                </c:pt>
                <c:pt idx="149">
                  <c:v>1185.664</c:v>
                </c:pt>
                <c:pt idx="150">
                  <c:v>1348.85</c:v>
                </c:pt>
                <c:pt idx="151">
                  <c:v>1386.356</c:v>
                </c:pt>
                <c:pt idx="152">
                  <c:v>1256.068</c:v>
                </c:pt>
                <c:pt idx="153">
                  <c:v>1032.7449999999999</c:v>
                </c:pt>
                <c:pt idx="154">
                  <c:v>1191.3869999999999</c:v>
                </c:pt>
                <c:pt idx="155">
                  <c:v>1498.8019999999999</c:v>
                </c:pt>
                <c:pt idx="156">
                  <c:v>1506.9760000000001</c:v>
                </c:pt>
                <c:pt idx="157">
                  <c:v>2250.8490000000002</c:v>
                </c:pt>
                <c:pt idx="158">
                  <c:v>3082.8389999999999</c:v>
                </c:pt>
                <c:pt idx="159">
                  <c:v>3209.3110000000001</c:v>
                </c:pt>
                <c:pt idx="160">
                  <c:v>3294.0819999999999</c:v>
                </c:pt>
                <c:pt idx="161">
                  <c:v>3335.527</c:v>
                </c:pt>
                <c:pt idx="162">
                  <c:v>3237.366</c:v>
                </c:pt>
                <c:pt idx="163">
                  <c:v>3418.7710000000002</c:v>
                </c:pt>
                <c:pt idx="164">
                  <c:v>3485.357</c:v>
                </c:pt>
                <c:pt idx="165">
                  <c:v>3391.5540000000001</c:v>
                </c:pt>
                <c:pt idx="166">
                  <c:v>3152.1970000000001</c:v>
                </c:pt>
                <c:pt idx="167">
                  <c:v>2764.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241-4602-9258-A76CF9AB45C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420</c:v>
                </c:pt>
                <c:pt idx="7">
                  <c:v>420</c:v>
                </c:pt>
                <c:pt idx="8">
                  <c:v>840</c:v>
                </c:pt>
                <c:pt idx="9">
                  <c:v>2100</c:v>
                </c:pt>
                <c:pt idx="10">
                  <c:v>2100</c:v>
                </c:pt>
                <c:pt idx="11">
                  <c:v>2100</c:v>
                </c:pt>
                <c:pt idx="12">
                  <c:v>2520</c:v>
                </c:pt>
                <c:pt idx="13">
                  <c:v>2940</c:v>
                </c:pt>
                <c:pt idx="14">
                  <c:v>2940</c:v>
                </c:pt>
                <c:pt idx="15">
                  <c:v>2100</c:v>
                </c:pt>
                <c:pt idx="16">
                  <c:v>420</c:v>
                </c:pt>
                <c:pt idx="17">
                  <c:v>42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2940</c:v>
                </c:pt>
                <c:pt idx="33">
                  <c:v>3360</c:v>
                </c:pt>
                <c:pt idx="34">
                  <c:v>3360</c:v>
                </c:pt>
                <c:pt idx="35">
                  <c:v>3780</c:v>
                </c:pt>
                <c:pt idx="36">
                  <c:v>2940</c:v>
                </c:pt>
                <c:pt idx="37">
                  <c:v>3360</c:v>
                </c:pt>
                <c:pt idx="38">
                  <c:v>3360</c:v>
                </c:pt>
                <c:pt idx="39">
                  <c:v>2100</c:v>
                </c:pt>
                <c:pt idx="40">
                  <c:v>1680</c:v>
                </c:pt>
                <c:pt idx="41">
                  <c:v>840</c:v>
                </c:pt>
                <c:pt idx="42">
                  <c:v>84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1260</c:v>
                </c:pt>
                <c:pt idx="56">
                  <c:v>2940</c:v>
                </c:pt>
                <c:pt idx="57">
                  <c:v>2520</c:v>
                </c:pt>
                <c:pt idx="58">
                  <c:v>2940</c:v>
                </c:pt>
                <c:pt idx="59">
                  <c:v>3780</c:v>
                </c:pt>
                <c:pt idx="60">
                  <c:v>2940</c:v>
                </c:pt>
                <c:pt idx="61">
                  <c:v>3780</c:v>
                </c:pt>
                <c:pt idx="62">
                  <c:v>3780</c:v>
                </c:pt>
                <c:pt idx="63">
                  <c:v>2940</c:v>
                </c:pt>
                <c:pt idx="64">
                  <c:v>3780</c:v>
                </c:pt>
                <c:pt idx="65">
                  <c:v>2100</c:v>
                </c:pt>
                <c:pt idx="66">
                  <c:v>84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420</c:v>
                </c:pt>
                <c:pt idx="87">
                  <c:v>420</c:v>
                </c:pt>
                <c:pt idx="88">
                  <c:v>84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1260</c:v>
                </c:pt>
                <c:pt idx="104">
                  <c:v>3360</c:v>
                </c:pt>
                <c:pt idx="105">
                  <c:v>3360</c:v>
                </c:pt>
                <c:pt idx="106">
                  <c:v>3360</c:v>
                </c:pt>
                <c:pt idx="107">
                  <c:v>3780</c:v>
                </c:pt>
                <c:pt idx="108">
                  <c:v>3780</c:v>
                </c:pt>
                <c:pt idx="109">
                  <c:v>3780</c:v>
                </c:pt>
                <c:pt idx="110">
                  <c:v>2940</c:v>
                </c:pt>
                <c:pt idx="111">
                  <c:v>3780</c:v>
                </c:pt>
                <c:pt idx="112">
                  <c:v>3780</c:v>
                </c:pt>
                <c:pt idx="113">
                  <c:v>84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420</c:v>
                </c:pt>
                <c:pt idx="128">
                  <c:v>2520</c:v>
                </c:pt>
                <c:pt idx="129">
                  <c:v>2940</c:v>
                </c:pt>
                <c:pt idx="130">
                  <c:v>2940</c:v>
                </c:pt>
                <c:pt idx="131">
                  <c:v>3780</c:v>
                </c:pt>
                <c:pt idx="132">
                  <c:v>2940</c:v>
                </c:pt>
                <c:pt idx="133">
                  <c:v>3360</c:v>
                </c:pt>
                <c:pt idx="134">
                  <c:v>2940</c:v>
                </c:pt>
                <c:pt idx="135">
                  <c:v>2940</c:v>
                </c:pt>
                <c:pt idx="136">
                  <c:v>2100</c:v>
                </c:pt>
                <c:pt idx="137">
                  <c:v>84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420</c:v>
                </c:pt>
                <c:pt idx="152">
                  <c:v>840</c:v>
                </c:pt>
                <c:pt idx="153">
                  <c:v>420</c:v>
                </c:pt>
                <c:pt idx="154">
                  <c:v>1260</c:v>
                </c:pt>
                <c:pt idx="155">
                  <c:v>2100</c:v>
                </c:pt>
                <c:pt idx="156">
                  <c:v>2940</c:v>
                </c:pt>
                <c:pt idx="157">
                  <c:v>2520</c:v>
                </c:pt>
                <c:pt idx="158">
                  <c:v>2940</c:v>
                </c:pt>
                <c:pt idx="159">
                  <c:v>1680</c:v>
                </c:pt>
                <c:pt idx="160">
                  <c:v>1680</c:v>
                </c:pt>
                <c:pt idx="161">
                  <c:v>420</c:v>
                </c:pt>
                <c:pt idx="162">
                  <c:v>84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30117208"/>
        <c:axId val="930116032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241-4602-9258-A76CF9AB45C7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H$2:$H$169</c:f>
              <c:numCache>
                <c:formatCode>_(* #,##0_);_(* \(#,##0\);_(* "-"??_);_(@_)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219.062</c:v>
                </c:pt>
                <c:pt idx="7">
                  <c:v>10726.269</c:v>
                </c:pt>
                <c:pt idx="8">
                  <c:v>10446.681</c:v>
                </c:pt>
                <c:pt idx="9">
                  <c:v>9231.9830000000002</c:v>
                </c:pt>
                <c:pt idx="10">
                  <c:v>9111.4470000000001</c:v>
                </c:pt>
                <c:pt idx="11">
                  <c:v>8930.48</c:v>
                </c:pt>
                <c:pt idx="12">
                  <c:v>8445.3770000000004</c:v>
                </c:pt>
                <c:pt idx="13">
                  <c:v>7935.2170000000006</c:v>
                </c:pt>
                <c:pt idx="14">
                  <c:v>7742.2189999999991</c:v>
                </c:pt>
                <c:pt idx="15">
                  <c:v>8437.8349999999991</c:v>
                </c:pt>
                <c:pt idx="16">
                  <c:v>10043.782999999999</c:v>
                </c:pt>
                <c:pt idx="17">
                  <c:v>1000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7763.4249999999993</c:v>
                </c:pt>
                <c:pt idx="33">
                  <c:v>7416.2350000000006</c:v>
                </c:pt>
                <c:pt idx="34">
                  <c:v>7480.2909999999993</c:v>
                </c:pt>
                <c:pt idx="35">
                  <c:v>6967.7939999999999</c:v>
                </c:pt>
                <c:pt idx="36">
                  <c:v>7728.6129999999994</c:v>
                </c:pt>
                <c:pt idx="37">
                  <c:v>7274.0400000000009</c:v>
                </c:pt>
                <c:pt idx="38">
                  <c:v>7129.7180000000008</c:v>
                </c:pt>
                <c:pt idx="39">
                  <c:v>8250.3379999999997</c:v>
                </c:pt>
                <c:pt idx="40">
                  <c:v>8632.652</c:v>
                </c:pt>
                <c:pt idx="41">
                  <c:v>9407.7980000000007</c:v>
                </c:pt>
                <c:pt idx="42">
                  <c:v>9330.1880000000001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8042.3490000000002</c:v>
                </c:pt>
                <c:pt idx="56">
                  <c:v>6551.866</c:v>
                </c:pt>
                <c:pt idx="57">
                  <c:v>7058.8940000000002</c:v>
                </c:pt>
                <c:pt idx="58">
                  <c:v>6613.7669999999998</c:v>
                </c:pt>
                <c:pt idx="59">
                  <c:v>5688.0349999999999</c:v>
                </c:pt>
                <c:pt idx="60">
                  <c:v>6357.616</c:v>
                </c:pt>
                <c:pt idx="61">
                  <c:v>5295.1260000000002</c:v>
                </c:pt>
                <c:pt idx="62">
                  <c:v>5137.5769999999993</c:v>
                </c:pt>
                <c:pt idx="63">
                  <c:v>5802.6650000000009</c:v>
                </c:pt>
                <c:pt idx="64">
                  <c:v>4935.9719999999998</c:v>
                </c:pt>
                <c:pt idx="65">
                  <c:v>6601.65</c:v>
                </c:pt>
                <c:pt idx="66">
                  <c:v>789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457.7160000000003</c:v>
                </c:pt>
                <c:pt idx="87">
                  <c:v>9346.1229999999996</c:v>
                </c:pt>
                <c:pt idx="88">
                  <c:v>903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9703.3130000000001</c:v>
                </c:pt>
                <c:pt idx="104">
                  <c:v>7652.77</c:v>
                </c:pt>
                <c:pt idx="105">
                  <c:v>7596.4570000000003</c:v>
                </c:pt>
                <c:pt idx="106">
                  <c:v>7572.9330000000009</c:v>
                </c:pt>
                <c:pt idx="107">
                  <c:v>7069.01</c:v>
                </c:pt>
                <c:pt idx="108">
                  <c:v>6967.6270000000004</c:v>
                </c:pt>
                <c:pt idx="109">
                  <c:v>6925.5169999999998</c:v>
                </c:pt>
                <c:pt idx="110">
                  <c:v>7580.4369999999999</c:v>
                </c:pt>
                <c:pt idx="111">
                  <c:v>6575.3029999999999</c:v>
                </c:pt>
                <c:pt idx="112">
                  <c:v>6457.8109999999997</c:v>
                </c:pt>
                <c:pt idx="113">
                  <c:v>9393.6029999999992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9984.9979999999996</c:v>
                </c:pt>
                <c:pt idx="128">
                  <c:v>7977.9979999999996</c:v>
                </c:pt>
                <c:pt idx="129">
                  <c:v>7587.9979999999996</c:v>
                </c:pt>
                <c:pt idx="130">
                  <c:v>7645.9979999999996</c:v>
                </c:pt>
                <c:pt idx="131">
                  <c:v>6840.9979999999996</c:v>
                </c:pt>
                <c:pt idx="132">
                  <c:v>7681.9979999999996</c:v>
                </c:pt>
                <c:pt idx="133">
                  <c:v>7344.9979999999996</c:v>
                </c:pt>
                <c:pt idx="134">
                  <c:v>7748.9979999999996</c:v>
                </c:pt>
                <c:pt idx="135">
                  <c:v>7626.9979999999996</c:v>
                </c:pt>
                <c:pt idx="136">
                  <c:v>8345.2420000000002</c:v>
                </c:pt>
                <c:pt idx="137">
                  <c:v>9427.257999999999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9810.6710000000003</c:v>
                </c:pt>
                <c:pt idx="152">
                  <c:v>9624.3189999999995</c:v>
                </c:pt>
                <c:pt idx="153">
                  <c:v>10124.950999999999</c:v>
                </c:pt>
                <c:pt idx="154">
                  <c:v>9340.5619999999999</c:v>
                </c:pt>
                <c:pt idx="155">
                  <c:v>8478.1389999999992</c:v>
                </c:pt>
                <c:pt idx="156">
                  <c:v>7669.2960000000003</c:v>
                </c:pt>
                <c:pt idx="157">
                  <c:v>8233.8860000000004</c:v>
                </c:pt>
                <c:pt idx="158">
                  <c:v>7808.3099999999995</c:v>
                </c:pt>
                <c:pt idx="159">
                  <c:v>8993.7119999999995</c:v>
                </c:pt>
                <c:pt idx="160">
                  <c:v>8941.2970000000005</c:v>
                </c:pt>
                <c:pt idx="161">
                  <c:v>10107.697</c:v>
                </c:pt>
                <c:pt idx="162">
                  <c:v>9483.8289999999997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30117208"/>
        <c:axId val="930116032"/>
      </c:lineChart>
      <c:catAx>
        <c:axId val="930117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0116032"/>
        <c:crosses val="autoZero"/>
        <c:auto val="1"/>
        <c:lblAlgn val="ctr"/>
        <c:lblOffset val="100"/>
        <c:noMultiLvlLbl val="0"/>
      </c:catAx>
      <c:valAx>
        <c:axId val="930116032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011720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/>
              <a:t>2030 Path To 100 Targets Hourly MW For April Week</a:t>
            </a:r>
          </a:p>
        </c:rich>
      </c:tx>
      <c:layout>
        <c:manualLayout>
          <c:xMode val="edge"/>
          <c:yMode val="edge"/>
          <c:x val="0.10026688140852671"/>
          <c:y val="2.49670600817119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719770304910955"/>
          <c:y val="0.19695187801221134"/>
          <c:w val="0.81509376686454393"/>
          <c:h val="0.6427766341519675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B$2:$B$169</c:f>
              <c:numCache>
                <c:formatCode>_(* #,##0_);_(* \(#,##0\);_(* "-"??_);_(@_)</c:formatCode>
                <c:ptCount val="168"/>
                <c:pt idx="0">
                  <c:v>7339</c:v>
                </c:pt>
                <c:pt idx="1">
                  <c:v>7341.5</c:v>
                </c:pt>
                <c:pt idx="2">
                  <c:v>7345</c:v>
                </c:pt>
                <c:pt idx="3">
                  <c:v>7343.25</c:v>
                </c:pt>
                <c:pt idx="4">
                  <c:v>7342.25</c:v>
                </c:pt>
                <c:pt idx="5">
                  <c:v>7341</c:v>
                </c:pt>
                <c:pt idx="6">
                  <c:v>7348</c:v>
                </c:pt>
                <c:pt idx="7">
                  <c:v>7350</c:v>
                </c:pt>
                <c:pt idx="8">
                  <c:v>7347.25</c:v>
                </c:pt>
                <c:pt idx="9">
                  <c:v>7350</c:v>
                </c:pt>
                <c:pt idx="10">
                  <c:v>7351.75</c:v>
                </c:pt>
                <c:pt idx="11">
                  <c:v>7342</c:v>
                </c:pt>
                <c:pt idx="12">
                  <c:v>7345.75</c:v>
                </c:pt>
                <c:pt idx="13">
                  <c:v>7348</c:v>
                </c:pt>
                <c:pt idx="14">
                  <c:v>7346.25</c:v>
                </c:pt>
                <c:pt idx="15">
                  <c:v>7345.25</c:v>
                </c:pt>
                <c:pt idx="16">
                  <c:v>7346</c:v>
                </c:pt>
                <c:pt idx="17">
                  <c:v>7339</c:v>
                </c:pt>
                <c:pt idx="18">
                  <c:v>7343.75</c:v>
                </c:pt>
                <c:pt idx="19">
                  <c:v>7341</c:v>
                </c:pt>
                <c:pt idx="20">
                  <c:v>7344.5</c:v>
                </c:pt>
                <c:pt idx="21">
                  <c:v>7339</c:v>
                </c:pt>
                <c:pt idx="22">
                  <c:v>7343.5</c:v>
                </c:pt>
                <c:pt idx="23">
                  <c:v>7337.25</c:v>
                </c:pt>
                <c:pt idx="24">
                  <c:v>7342.5</c:v>
                </c:pt>
                <c:pt idx="25">
                  <c:v>7337.25</c:v>
                </c:pt>
                <c:pt idx="26">
                  <c:v>7349.75</c:v>
                </c:pt>
                <c:pt idx="27">
                  <c:v>7345.25</c:v>
                </c:pt>
                <c:pt idx="28">
                  <c:v>7344.75</c:v>
                </c:pt>
                <c:pt idx="29">
                  <c:v>7343.25</c:v>
                </c:pt>
                <c:pt idx="30">
                  <c:v>7344.25</c:v>
                </c:pt>
                <c:pt idx="31">
                  <c:v>7348.25</c:v>
                </c:pt>
                <c:pt idx="32">
                  <c:v>7346.5</c:v>
                </c:pt>
                <c:pt idx="33">
                  <c:v>7345.75</c:v>
                </c:pt>
                <c:pt idx="34">
                  <c:v>7349.75</c:v>
                </c:pt>
                <c:pt idx="35">
                  <c:v>7345.25</c:v>
                </c:pt>
                <c:pt idx="36">
                  <c:v>7348</c:v>
                </c:pt>
                <c:pt idx="37">
                  <c:v>7346.5</c:v>
                </c:pt>
                <c:pt idx="38">
                  <c:v>7349.5</c:v>
                </c:pt>
                <c:pt idx="39">
                  <c:v>7348</c:v>
                </c:pt>
                <c:pt idx="40">
                  <c:v>7348.5</c:v>
                </c:pt>
                <c:pt idx="41">
                  <c:v>7351.25</c:v>
                </c:pt>
                <c:pt idx="42">
                  <c:v>7343.5</c:v>
                </c:pt>
                <c:pt idx="43">
                  <c:v>7351.75</c:v>
                </c:pt>
                <c:pt idx="44">
                  <c:v>7351</c:v>
                </c:pt>
                <c:pt idx="45">
                  <c:v>7351.5</c:v>
                </c:pt>
                <c:pt idx="46">
                  <c:v>7351.5</c:v>
                </c:pt>
                <c:pt idx="47">
                  <c:v>7355</c:v>
                </c:pt>
                <c:pt idx="48">
                  <c:v>7350</c:v>
                </c:pt>
                <c:pt idx="49">
                  <c:v>7353.5</c:v>
                </c:pt>
                <c:pt idx="50">
                  <c:v>7348.75</c:v>
                </c:pt>
                <c:pt idx="51">
                  <c:v>7358.5</c:v>
                </c:pt>
                <c:pt idx="52">
                  <c:v>7355</c:v>
                </c:pt>
                <c:pt idx="53">
                  <c:v>7358</c:v>
                </c:pt>
                <c:pt idx="54">
                  <c:v>7353</c:v>
                </c:pt>
                <c:pt idx="55">
                  <c:v>7358</c:v>
                </c:pt>
                <c:pt idx="56">
                  <c:v>7355.5</c:v>
                </c:pt>
                <c:pt idx="57">
                  <c:v>7358</c:v>
                </c:pt>
                <c:pt idx="58">
                  <c:v>7353.25</c:v>
                </c:pt>
                <c:pt idx="59">
                  <c:v>7360.25</c:v>
                </c:pt>
                <c:pt idx="60">
                  <c:v>7356</c:v>
                </c:pt>
                <c:pt idx="61">
                  <c:v>7350.25</c:v>
                </c:pt>
                <c:pt idx="62">
                  <c:v>7350</c:v>
                </c:pt>
                <c:pt idx="63">
                  <c:v>7355.5</c:v>
                </c:pt>
                <c:pt idx="64">
                  <c:v>7348.25</c:v>
                </c:pt>
                <c:pt idx="65">
                  <c:v>7353.25</c:v>
                </c:pt>
                <c:pt idx="66">
                  <c:v>7350.75</c:v>
                </c:pt>
                <c:pt idx="67">
                  <c:v>7350.25</c:v>
                </c:pt>
                <c:pt idx="68">
                  <c:v>7353.75</c:v>
                </c:pt>
                <c:pt idx="69">
                  <c:v>7355.5</c:v>
                </c:pt>
                <c:pt idx="70">
                  <c:v>7350.5</c:v>
                </c:pt>
                <c:pt idx="71">
                  <c:v>7355.5</c:v>
                </c:pt>
                <c:pt idx="72">
                  <c:v>7357</c:v>
                </c:pt>
                <c:pt idx="73">
                  <c:v>7354.25</c:v>
                </c:pt>
                <c:pt idx="74">
                  <c:v>7352</c:v>
                </c:pt>
                <c:pt idx="75">
                  <c:v>7352.5</c:v>
                </c:pt>
                <c:pt idx="76">
                  <c:v>7359.75</c:v>
                </c:pt>
                <c:pt idx="77">
                  <c:v>7353.75</c:v>
                </c:pt>
                <c:pt idx="78">
                  <c:v>7361</c:v>
                </c:pt>
                <c:pt idx="79">
                  <c:v>7354</c:v>
                </c:pt>
                <c:pt idx="80">
                  <c:v>7356.5</c:v>
                </c:pt>
                <c:pt idx="81">
                  <c:v>7350.5</c:v>
                </c:pt>
                <c:pt idx="82">
                  <c:v>7357.75</c:v>
                </c:pt>
                <c:pt idx="83">
                  <c:v>7350.25</c:v>
                </c:pt>
                <c:pt idx="84">
                  <c:v>7361.75</c:v>
                </c:pt>
                <c:pt idx="85">
                  <c:v>7357.5</c:v>
                </c:pt>
                <c:pt idx="86">
                  <c:v>7353.25</c:v>
                </c:pt>
                <c:pt idx="87">
                  <c:v>7354</c:v>
                </c:pt>
                <c:pt idx="88">
                  <c:v>7360</c:v>
                </c:pt>
                <c:pt idx="89">
                  <c:v>7359.5</c:v>
                </c:pt>
                <c:pt idx="90">
                  <c:v>7360.5</c:v>
                </c:pt>
                <c:pt idx="91">
                  <c:v>7356</c:v>
                </c:pt>
                <c:pt idx="92">
                  <c:v>7357.5</c:v>
                </c:pt>
                <c:pt idx="93">
                  <c:v>7359.5</c:v>
                </c:pt>
                <c:pt idx="94">
                  <c:v>7357</c:v>
                </c:pt>
                <c:pt idx="95">
                  <c:v>7357</c:v>
                </c:pt>
                <c:pt idx="96">
                  <c:v>7361.5</c:v>
                </c:pt>
                <c:pt idx="97">
                  <c:v>7358</c:v>
                </c:pt>
                <c:pt idx="98">
                  <c:v>7358</c:v>
                </c:pt>
                <c:pt idx="99">
                  <c:v>7356.75</c:v>
                </c:pt>
                <c:pt idx="100">
                  <c:v>7356</c:v>
                </c:pt>
                <c:pt idx="101">
                  <c:v>7359</c:v>
                </c:pt>
                <c:pt idx="102">
                  <c:v>7361.25</c:v>
                </c:pt>
                <c:pt idx="103">
                  <c:v>7357.5</c:v>
                </c:pt>
                <c:pt idx="104">
                  <c:v>7355.5</c:v>
                </c:pt>
                <c:pt idx="105">
                  <c:v>7361.5</c:v>
                </c:pt>
                <c:pt idx="106">
                  <c:v>7360.75</c:v>
                </c:pt>
                <c:pt idx="107">
                  <c:v>7355.5</c:v>
                </c:pt>
                <c:pt idx="108">
                  <c:v>7350.25</c:v>
                </c:pt>
                <c:pt idx="109">
                  <c:v>7356.75</c:v>
                </c:pt>
                <c:pt idx="110">
                  <c:v>7355.25</c:v>
                </c:pt>
                <c:pt idx="111">
                  <c:v>7352</c:v>
                </c:pt>
                <c:pt idx="112">
                  <c:v>7353.75</c:v>
                </c:pt>
                <c:pt idx="113">
                  <c:v>7352.25</c:v>
                </c:pt>
                <c:pt idx="114">
                  <c:v>7355.5</c:v>
                </c:pt>
                <c:pt idx="115">
                  <c:v>7355.75</c:v>
                </c:pt>
                <c:pt idx="116">
                  <c:v>7347.75</c:v>
                </c:pt>
                <c:pt idx="117">
                  <c:v>7356</c:v>
                </c:pt>
                <c:pt idx="118">
                  <c:v>7344.25</c:v>
                </c:pt>
                <c:pt idx="119">
                  <c:v>7354.75</c:v>
                </c:pt>
                <c:pt idx="120">
                  <c:v>7352</c:v>
                </c:pt>
                <c:pt idx="121">
                  <c:v>7353</c:v>
                </c:pt>
                <c:pt idx="122">
                  <c:v>7350.75</c:v>
                </c:pt>
                <c:pt idx="123">
                  <c:v>7352.5</c:v>
                </c:pt>
                <c:pt idx="124">
                  <c:v>7352</c:v>
                </c:pt>
                <c:pt idx="125">
                  <c:v>7353.5</c:v>
                </c:pt>
                <c:pt idx="126">
                  <c:v>7349.75</c:v>
                </c:pt>
                <c:pt idx="127">
                  <c:v>7351.75</c:v>
                </c:pt>
                <c:pt idx="128">
                  <c:v>7346.25</c:v>
                </c:pt>
                <c:pt idx="129">
                  <c:v>7346.5</c:v>
                </c:pt>
                <c:pt idx="130">
                  <c:v>7344</c:v>
                </c:pt>
                <c:pt idx="131">
                  <c:v>7342.5</c:v>
                </c:pt>
                <c:pt idx="132">
                  <c:v>7339.25</c:v>
                </c:pt>
                <c:pt idx="133">
                  <c:v>7338.5</c:v>
                </c:pt>
                <c:pt idx="134">
                  <c:v>7339.25</c:v>
                </c:pt>
                <c:pt idx="135">
                  <c:v>7336.5</c:v>
                </c:pt>
                <c:pt idx="136">
                  <c:v>7331.5</c:v>
                </c:pt>
                <c:pt idx="137">
                  <c:v>7334.25</c:v>
                </c:pt>
                <c:pt idx="138">
                  <c:v>7336.5</c:v>
                </c:pt>
                <c:pt idx="139">
                  <c:v>7338.75</c:v>
                </c:pt>
                <c:pt idx="140">
                  <c:v>7342.5</c:v>
                </c:pt>
                <c:pt idx="141">
                  <c:v>7339.75</c:v>
                </c:pt>
                <c:pt idx="142">
                  <c:v>7339.5</c:v>
                </c:pt>
                <c:pt idx="143">
                  <c:v>7343.5</c:v>
                </c:pt>
                <c:pt idx="144">
                  <c:v>7347.5</c:v>
                </c:pt>
                <c:pt idx="145">
                  <c:v>7348.75</c:v>
                </c:pt>
                <c:pt idx="146">
                  <c:v>7341.25</c:v>
                </c:pt>
                <c:pt idx="147">
                  <c:v>7340.75</c:v>
                </c:pt>
                <c:pt idx="148">
                  <c:v>7344.75</c:v>
                </c:pt>
                <c:pt idx="149">
                  <c:v>7343.75</c:v>
                </c:pt>
                <c:pt idx="150">
                  <c:v>7339.75</c:v>
                </c:pt>
                <c:pt idx="151">
                  <c:v>7337.5</c:v>
                </c:pt>
                <c:pt idx="152">
                  <c:v>7339.5</c:v>
                </c:pt>
                <c:pt idx="153">
                  <c:v>7338</c:v>
                </c:pt>
                <c:pt idx="154">
                  <c:v>7339</c:v>
                </c:pt>
                <c:pt idx="155">
                  <c:v>7332</c:v>
                </c:pt>
                <c:pt idx="156">
                  <c:v>7333.25</c:v>
                </c:pt>
                <c:pt idx="157">
                  <c:v>7326.5</c:v>
                </c:pt>
                <c:pt idx="158">
                  <c:v>7325.5</c:v>
                </c:pt>
                <c:pt idx="159">
                  <c:v>7315</c:v>
                </c:pt>
                <c:pt idx="160">
                  <c:v>7320</c:v>
                </c:pt>
                <c:pt idx="161">
                  <c:v>7316</c:v>
                </c:pt>
                <c:pt idx="162">
                  <c:v>7315</c:v>
                </c:pt>
                <c:pt idx="163">
                  <c:v>7315.25</c:v>
                </c:pt>
                <c:pt idx="164">
                  <c:v>7319.5</c:v>
                </c:pt>
                <c:pt idx="165">
                  <c:v>7315.75</c:v>
                </c:pt>
                <c:pt idx="166">
                  <c:v>7321</c:v>
                </c:pt>
                <c:pt idx="167">
                  <c:v>787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41-4602-9258-A76CF9AB45C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 formatCode="_(* #,##0_);_(* \(#,##0\);_(* &quot;-&quot;??_);_(@_)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41-4602-9258-A76CF9AB45C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D$2:$D$169</c:f>
              <c:numCache>
                <c:formatCode>#,##0</c:formatCode>
                <c:ptCount val="168"/>
                <c:pt idx="0">
                  <c:v>3295.59</c:v>
                </c:pt>
                <c:pt idx="1">
                  <c:v>3299.1970000000001</c:v>
                </c:pt>
                <c:pt idx="2">
                  <c:v>3273.0219999999999</c:v>
                </c:pt>
                <c:pt idx="3">
                  <c:v>3279.9009999999998</c:v>
                </c:pt>
                <c:pt idx="4">
                  <c:v>3290.9090000000001</c:v>
                </c:pt>
                <c:pt idx="5">
                  <c:v>3333.3249999999998</c:v>
                </c:pt>
                <c:pt idx="6">
                  <c:v>3369.96</c:v>
                </c:pt>
                <c:pt idx="7">
                  <c:v>3392.1959999999999</c:v>
                </c:pt>
                <c:pt idx="8">
                  <c:v>3419.6660000000002</c:v>
                </c:pt>
                <c:pt idx="9">
                  <c:v>3287.6619999999998</c:v>
                </c:pt>
                <c:pt idx="10">
                  <c:v>3143.4470000000001</c:v>
                </c:pt>
                <c:pt idx="11">
                  <c:v>3060.3270000000002</c:v>
                </c:pt>
                <c:pt idx="12">
                  <c:v>3059.0639999999999</c:v>
                </c:pt>
                <c:pt idx="13">
                  <c:v>2846.788</c:v>
                </c:pt>
                <c:pt idx="14">
                  <c:v>2665.79</c:v>
                </c:pt>
                <c:pt idx="15">
                  <c:v>2777.2280000000001</c:v>
                </c:pt>
                <c:pt idx="16">
                  <c:v>2798.4450000000002</c:v>
                </c:pt>
                <c:pt idx="17">
                  <c:v>2786.9690000000001</c:v>
                </c:pt>
                <c:pt idx="18">
                  <c:v>2826.25</c:v>
                </c:pt>
                <c:pt idx="19">
                  <c:v>2694.68</c:v>
                </c:pt>
                <c:pt idx="20">
                  <c:v>2872.0909999999999</c:v>
                </c:pt>
                <c:pt idx="21">
                  <c:v>3058.3809999999999</c:v>
                </c:pt>
                <c:pt idx="22">
                  <c:v>3009.2440000000001</c:v>
                </c:pt>
                <c:pt idx="23">
                  <c:v>2656.7159999999999</c:v>
                </c:pt>
                <c:pt idx="24">
                  <c:v>2227.6060000000002</c:v>
                </c:pt>
                <c:pt idx="25">
                  <c:v>2436.1779999999999</c:v>
                </c:pt>
                <c:pt idx="26">
                  <c:v>2638.07</c:v>
                </c:pt>
                <c:pt idx="27">
                  <c:v>2268.5630000000001</c:v>
                </c:pt>
                <c:pt idx="28">
                  <c:v>2399.9009999999998</c:v>
                </c:pt>
                <c:pt idx="29">
                  <c:v>2673.8150000000001</c:v>
                </c:pt>
                <c:pt idx="30">
                  <c:v>2920.3319999999999</c:v>
                </c:pt>
                <c:pt idx="31">
                  <c:v>3122.8359999999998</c:v>
                </c:pt>
                <c:pt idx="32">
                  <c:v>3439.1860000000001</c:v>
                </c:pt>
                <c:pt idx="33">
                  <c:v>3500.2669999999998</c:v>
                </c:pt>
                <c:pt idx="34">
                  <c:v>3523.9259999999999</c:v>
                </c:pt>
                <c:pt idx="35">
                  <c:v>3522.4920000000002</c:v>
                </c:pt>
                <c:pt idx="36">
                  <c:v>3530.4360000000001</c:v>
                </c:pt>
                <c:pt idx="37">
                  <c:v>3515.0889999999999</c:v>
                </c:pt>
                <c:pt idx="38">
                  <c:v>3514.5149999999999</c:v>
                </c:pt>
                <c:pt idx="39">
                  <c:v>3515.9580000000001</c:v>
                </c:pt>
                <c:pt idx="40">
                  <c:v>3524.42</c:v>
                </c:pt>
                <c:pt idx="41">
                  <c:v>3503.4830000000002</c:v>
                </c:pt>
                <c:pt idx="42">
                  <c:v>3397.9209999999998</c:v>
                </c:pt>
                <c:pt idx="43">
                  <c:v>2758.24</c:v>
                </c:pt>
                <c:pt idx="44">
                  <c:v>2031.307</c:v>
                </c:pt>
                <c:pt idx="45">
                  <c:v>1866.107</c:v>
                </c:pt>
                <c:pt idx="46">
                  <c:v>1490.28</c:v>
                </c:pt>
                <c:pt idx="47">
                  <c:v>1363.8589999999999</c:v>
                </c:pt>
                <c:pt idx="48">
                  <c:v>1349.865</c:v>
                </c:pt>
                <c:pt idx="49">
                  <c:v>1457.5820000000001</c:v>
                </c:pt>
                <c:pt idx="50">
                  <c:v>1678.4839999999999</c:v>
                </c:pt>
                <c:pt idx="51">
                  <c:v>1919.296</c:v>
                </c:pt>
                <c:pt idx="52">
                  <c:v>1745.2840000000001</c:v>
                </c:pt>
                <c:pt idx="53">
                  <c:v>1556.327</c:v>
                </c:pt>
                <c:pt idx="54">
                  <c:v>1450.8520000000001</c:v>
                </c:pt>
                <c:pt idx="55">
                  <c:v>1167.3230000000001</c:v>
                </c:pt>
                <c:pt idx="56">
                  <c:v>869.78499999999997</c:v>
                </c:pt>
                <c:pt idx="57">
                  <c:v>1161.558</c:v>
                </c:pt>
                <c:pt idx="58">
                  <c:v>1026.712</c:v>
                </c:pt>
                <c:pt idx="59">
                  <c:v>955.81399999999996</c:v>
                </c:pt>
                <c:pt idx="60">
                  <c:v>1159.3240000000001</c:v>
                </c:pt>
                <c:pt idx="61">
                  <c:v>1180.826</c:v>
                </c:pt>
                <c:pt idx="62">
                  <c:v>958.27300000000002</c:v>
                </c:pt>
                <c:pt idx="63">
                  <c:v>764.36300000000006</c:v>
                </c:pt>
                <c:pt idx="64">
                  <c:v>631.58699999999999</c:v>
                </c:pt>
                <c:pt idx="65">
                  <c:v>424.28</c:v>
                </c:pt>
                <c:pt idx="66">
                  <c:v>625.678</c:v>
                </c:pt>
                <c:pt idx="67">
                  <c:v>827.20399999999995</c:v>
                </c:pt>
                <c:pt idx="68">
                  <c:v>1143.6569999999999</c:v>
                </c:pt>
                <c:pt idx="69">
                  <c:v>1824.2280000000001</c:v>
                </c:pt>
                <c:pt idx="70">
                  <c:v>1889.7829999999999</c:v>
                </c:pt>
                <c:pt idx="71">
                  <c:v>1685.742</c:v>
                </c:pt>
                <c:pt idx="72">
                  <c:v>2055.6379999999999</c:v>
                </c:pt>
                <c:pt idx="73">
                  <c:v>2150.2809999999999</c:v>
                </c:pt>
                <c:pt idx="74">
                  <c:v>2874.192</c:v>
                </c:pt>
                <c:pt idx="75">
                  <c:v>3284.5160000000001</c:v>
                </c:pt>
                <c:pt idx="76">
                  <c:v>3163.44</c:v>
                </c:pt>
                <c:pt idx="77">
                  <c:v>3060.0160000000001</c:v>
                </c:pt>
                <c:pt idx="78">
                  <c:v>2860.06</c:v>
                </c:pt>
                <c:pt idx="79">
                  <c:v>2940.1179999999999</c:v>
                </c:pt>
                <c:pt idx="80">
                  <c:v>3171.3130000000001</c:v>
                </c:pt>
                <c:pt idx="81">
                  <c:v>3270.3969999999999</c:v>
                </c:pt>
                <c:pt idx="82">
                  <c:v>3211.308</c:v>
                </c:pt>
                <c:pt idx="83">
                  <c:v>3204.6709999999998</c:v>
                </c:pt>
                <c:pt idx="84">
                  <c:v>3235.8939999999998</c:v>
                </c:pt>
                <c:pt idx="85">
                  <c:v>3287.3310000000001</c:v>
                </c:pt>
                <c:pt idx="86">
                  <c:v>3309.8580000000002</c:v>
                </c:pt>
                <c:pt idx="87">
                  <c:v>3223.098</c:v>
                </c:pt>
                <c:pt idx="88">
                  <c:v>3006.8870000000002</c:v>
                </c:pt>
                <c:pt idx="89">
                  <c:v>2659.5639999999999</c:v>
                </c:pt>
                <c:pt idx="90">
                  <c:v>2592.75</c:v>
                </c:pt>
                <c:pt idx="91">
                  <c:v>2344.2809999999999</c:v>
                </c:pt>
                <c:pt idx="92">
                  <c:v>1775.722</c:v>
                </c:pt>
                <c:pt idx="93">
                  <c:v>1570.816</c:v>
                </c:pt>
                <c:pt idx="94">
                  <c:v>1436.942</c:v>
                </c:pt>
                <c:pt idx="95">
                  <c:v>1284.98</c:v>
                </c:pt>
                <c:pt idx="96">
                  <c:v>1181.2349999999999</c:v>
                </c:pt>
                <c:pt idx="97">
                  <c:v>1194.3969999999999</c:v>
                </c:pt>
                <c:pt idx="98">
                  <c:v>1205.9839999999999</c:v>
                </c:pt>
                <c:pt idx="99">
                  <c:v>1019.899</c:v>
                </c:pt>
                <c:pt idx="100">
                  <c:v>828.21799999999996</c:v>
                </c:pt>
                <c:pt idx="101">
                  <c:v>804.82299999999998</c:v>
                </c:pt>
                <c:pt idx="102">
                  <c:v>617.16899999999998</c:v>
                </c:pt>
                <c:pt idx="103">
                  <c:v>385.089</c:v>
                </c:pt>
                <c:pt idx="104">
                  <c:v>188.90100000000001</c:v>
                </c:pt>
                <c:pt idx="105">
                  <c:v>209.304</c:v>
                </c:pt>
                <c:pt idx="106">
                  <c:v>320.88799999999998</c:v>
                </c:pt>
                <c:pt idx="107">
                  <c:v>397.90100000000001</c:v>
                </c:pt>
                <c:pt idx="108">
                  <c:v>368.40600000000001</c:v>
                </c:pt>
                <c:pt idx="109">
                  <c:v>524.17700000000002</c:v>
                </c:pt>
                <c:pt idx="110">
                  <c:v>772.94799999999998</c:v>
                </c:pt>
                <c:pt idx="111">
                  <c:v>1192.9079999999999</c:v>
                </c:pt>
                <c:pt idx="112">
                  <c:v>1537.499</c:v>
                </c:pt>
                <c:pt idx="113">
                  <c:v>1993.1130000000001</c:v>
                </c:pt>
                <c:pt idx="114">
                  <c:v>2345.8069999999998</c:v>
                </c:pt>
                <c:pt idx="115">
                  <c:v>2600.3420000000001</c:v>
                </c:pt>
                <c:pt idx="116">
                  <c:v>2827.7370000000001</c:v>
                </c:pt>
                <c:pt idx="117">
                  <c:v>3120.0590000000002</c:v>
                </c:pt>
                <c:pt idx="118">
                  <c:v>3267.49</c:v>
                </c:pt>
                <c:pt idx="119">
                  <c:v>3358.163</c:v>
                </c:pt>
                <c:pt idx="120">
                  <c:v>3436.0450000000001</c:v>
                </c:pt>
                <c:pt idx="121">
                  <c:v>3412.0509999999999</c:v>
                </c:pt>
                <c:pt idx="122">
                  <c:v>3390.99</c:v>
                </c:pt>
                <c:pt idx="123">
                  <c:v>3314.049</c:v>
                </c:pt>
                <c:pt idx="124">
                  <c:v>3250.1419999999998</c:v>
                </c:pt>
                <c:pt idx="125">
                  <c:v>3195.1550000000002</c:v>
                </c:pt>
                <c:pt idx="126">
                  <c:v>3114.9</c:v>
                </c:pt>
                <c:pt idx="127">
                  <c:v>2999.0819999999999</c:v>
                </c:pt>
                <c:pt idx="128">
                  <c:v>2615.0120000000002</c:v>
                </c:pt>
                <c:pt idx="129">
                  <c:v>2316.0940000000001</c:v>
                </c:pt>
                <c:pt idx="130">
                  <c:v>2129.0859999999998</c:v>
                </c:pt>
                <c:pt idx="131">
                  <c:v>1846.0940000000001</c:v>
                </c:pt>
                <c:pt idx="132">
                  <c:v>1339.01</c:v>
                </c:pt>
                <c:pt idx="133">
                  <c:v>970.11599999999999</c:v>
                </c:pt>
                <c:pt idx="134">
                  <c:v>884.03300000000002</c:v>
                </c:pt>
                <c:pt idx="135">
                  <c:v>950.01499999999999</c:v>
                </c:pt>
                <c:pt idx="136">
                  <c:v>882.19799999999998</c:v>
                </c:pt>
                <c:pt idx="137">
                  <c:v>623.12</c:v>
                </c:pt>
                <c:pt idx="138">
                  <c:v>398.85899999999998</c:v>
                </c:pt>
                <c:pt idx="139">
                  <c:v>338</c:v>
                </c:pt>
                <c:pt idx="140">
                  <c:v>592</c:v>
                </c:pt>
                <c:pt idx="141">
                  <c:v>1092.8989999999999</c:v>
                </c:pt>
                <c:pt idx="142">
                  <c:v>1717.155</c:v>
                </c:pt>
                <c:pt idx="143">
                  <c:v>1826.364</c:v>
                </c:pt>
                <c:pt idx="144">
                  <c:v>1899.2049999999999</c:v>
                </c:pt>
                <c:pt idx="145">
                  <c:v>1890.268</c:v>
                </c:pt>
                <c:pt idx="146">
                  <c:v>1834.5540000000001</c:v>
                </c:pt>
                <c:pt idx="147">
                  <c:v>1689.69</c:v>
                </c:pt>
                <c:pt idx="148">
                  <c:v>1438.914</c:v>
                </c:pt>
                <c:pt idx="149">
                  <c:v>1185.664</c:v>
                </c:pt>
                <c:pt idx="150">
                  <c:v>1348.85</c:v>
                </c:pt>
                <c:pt idx="151">
                  <c:v>1386.356</c:v>
                </c:pt>
                <c:pt idx="152">
                  <c:v>1256.068</c:v>
                </c:pt>
                <c:pt idx="153">
                  <c:v>1032.7449999999999</c:v>
                </c:pt>
                <c:pt idx="154">
                  <c:v>1191.3869999999999</c:v>
                </c:pt>
                <c:pt idx="155">
                  <c:v>1498.8019999999999</c:v>
                </c:pt>
                <c:pt idx="156">
                  <c:v>1506.9760000000001</c:v>
                </c:pt>
                <c:pt idx="157">
                  <c:v>2250.8490000000002</c:v>
                </c:pt>
                <c:pt idx="158">
                  <c:v>3082.8389999999999</c:v>
                </c:pt>
                <c:pt idx="159">
                  <c:v>3209.3110000000001</c:v>
                </c:pt>
                <c:pt idx="160">
                  <c:v>3294.0819999999999</c:v>
                </c:pt>
                <c:pt idx="161">
                  <c:v>3335.527</c:v>
                </c:pt>
                <c:pt idx="162">
                  <c:v>3237.366</c:v>
                </c:pt>
                <c:pt idx="163">
                  <c:v>3418.7710000000002</c:v>
                </c:pt>
                <c:pt idx="164">
                  <c:v>3485.357</c:v>
                </c:pt>
                <c:pt idx="165">
                  <c:v>3391.5540000000001</c:v>
                </c:pt>
                <c:pt idx="166">
                  <c:v>3152.1970000000001</c:v>
                </c:pt>
                <c:pt idx="167" formatCode="_(* #,##0_);_(* \(#,##0\);_(* &quot;-&quot;??_);_(@_)">
                  <c:v>2764.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41-4602-9258-A76CF9AB45C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w Wind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E$2:$E$169</c:f>
              <c:numCache>
                <c:formatCode>_(* #,##0_);_(* \(#,##0\);_(* "-"??_);_(@_)</c:formatCode>
                <c:ptCount val="168"/>
                <c:pt idx="0">
                  <c:v>3295.59</c:v>
                </c:pt>
                <c:pt idx="1">
                  <c:v>3299.1970000000001</c:v>
                </c:pt>
                <c:pt idx="2">
                  <c:v>3273.0219999999999</c:v>
                </c:pt>
                <c:pt idx="3">
                  <c:v>3279.9009999999998</c:v>
                </c:pt>
                <c:pt idx="4">
                  <c:v>3290.9090000000001</c:v>
                </c:pt>
                <c:pt idx="5">
                  <c:v>3333.3249999999998</c:v>
                </c:pt>
                <c:pt idx="6">
                  <c:v>3369.96</c:v>
                </c:pt>
                <c:pt idx="7">
                  <c:v>3392.1959999999999</c:v>
                </c:pt>
                <c:pt idx="8">
                  <c:v>3419.6660000000002</c:v>
                </c:pt>
                <c:pt idx="9">
                  <c:v>3287.6619999999998</c:v>
                </c:pt>
                <c:pt idx="10">
                  <c:v>3143.4470000000001</c:v>
                </c:pt>
                <c:pt idx="11">
                  <c:v>3060.3270000000002</c:v>
                </c:pt>
                <c:pt idx="12">
                  <c:v>3059.0639999999999</c:v>
                </c:pt>
                <c:pt idx="13">
                  <c:v>2846.788</c:v>
                </c:pt>
                <c:pt idx="14">
                  <c:v>2665.79</c:v>
                </c:pt>
                <c:pt idx="15">
                  <c:v>2777.2280000000001</c:v>
                </c:pt>
                <c:pt idx="16">
                  <c:v>2798.4450000000002</c:v>
                </c:pt>
                <c:pt idx="17">
                  <c:v>2786.9690000000001</c:v>
                </c:pt>
                <c:pt idx="18">
                  <c:v>2826.25</c:v>
                </c:pt>
                <c:pt idx="19">
                  <c:v>2694.68</c:v>
                </c:pt>
                <c:pt idx="20">
                  <c:v>2872.0909999999999</c:v>
                </c:pt>
                <c:pt idx="21">
                  <c:v>3058.3809999999999</c:v>
                </c:pt>
                <c:pt idx="22">
                  <c:v>3009.2440000000001</c:v>
                </c:pt>
                <c:pt idx="23">
                  <c:v>2656.7159999999999</c:v>
                </c:pt>
                <c:pt idx="24">
                  <c:v>2227.6060000000002</c:v>
                </c:pt>
                <c:pt idx="25">
                  <c:v>2436.1779999999999</c:v>
                </c:pt>
                <c:pt idx="26">
                  <c:v>2638.07</c:v>
                </c:pt>
                <c:pt idx="27">
                  <c:v>2268.5630000000001</c:v>
                </c:pt>
                <c:pt idx="28">
                  <c:v>2399.9009999999998</c:v>
                </c:pt>
                <c:pt idx="29">
                  <c:v>2673.8150000000001</c:v>
                </c:pt>
                <c:pt idx="30">
                  <c:v>2920.3319999999999</c:v>
                </c:pt>
                <c:pt idx="31">
                  <c:v>3122.8359999999998</c:v>
                </c:pt>
                <c:pt idx="32">
                  <c:v>3439.1860000000001</c:v>
                </c:pt>
                <c:pt idx="33">
                  <c:v>3500.2669999999998</c:v>
                </c:pt>
                <c:pt idx="34">
                  <c:v>3523.9259999999999</c:v>
                </c:pt>
                <c:pt idx="35">
                  <c:v>3522.4920000000002</c:v>
                </c:pt>
                <c:pt idx="36">
                  <c:v>3530.4360000000001</c:v>
                </c:pt>
                <c:pt idx="37">
                  <c:v>3515.0889999999999</c:v>
                </c:pt>
                <c:pt idx="38">
                  <c:v>3514.5149999999999</c:v>
                </c:pt>
                <c:pt idx="39">
                  <c:v>3515.9580000000001</c:v>
                </c:pt>
                <c:pt idx="40">
                  <c:v>3524.42</c:v>
                </c:pt>
                <c:pt idx="41">
                  <c:v>3503.4830000000002</c:v>
                </c:pt>
                <c:pt idx="42">
                  <c:v>3397.9209999999998</c:v>
                </c:pt>
                <c:pt idx="43">
                  <c:v>2758.24</c:v>
                </c:pt>
                <c:pt idx="44">
                  <c:v>2031.307</c:v>
                </c:pt>
                <c:pt idx="45">
                  <c:v>1866.107</c:v>
                </c:pt>
                <c:pt idx="46">
                  <c:v>1490.28</c:v>
                </c:pt>
                <c:pt idx="47">
                  <c:v>1363.8589999999999</c:v>
                </c:pt>
                <c:pt idx="48">
                  <c:v>1349.865</c:v>
                </c:pt>
                <c:pt idx="49">
                  <c:v>1457.5820000000001</c:v>
                </c:pt>
                <c:pt idx="50">
                  <c:v>1678.4839999999999</c:v>
                </c:pt>
                <c:pt idx="51">
                  <c:v>1919.296</c:v>
                </c:pt>
                <c:pt idx="52">
                  <c:v>1745.2840000000001</c:v>
                </c:pt>
                <c:pt idx="53">
                  <c:v>1556.327</c:v>
                </c:pt>
                <c:pt idx="54">
                  <c:v>1450.8520000000001</c:v>
                </c:pt>
                <c:pt idx="55">
                  <c:v>1167.3230000000001</c:v>
                </c:pt>
                <c:pt idx="56">
                  <c:v>869.78499999999997</c:v>
                </c:pt>
                <c:pt idx="57">
                  <c:v>1161.558</c:v>
                </c:pt>
                <c:pt idx="58">
                  <c:v>1026.712</c:v>
                </c:pt>
                <c:pt idx="59">
                  <c:v>955.81399999999996</c:v>
                </c:pt>
                <c:pt idx="60">
                  <c:v>1159.3240000000001</c:v>
                </c:pt>
                <c:pt idx="61">
                  <c:v>1180.826</c:v>
                </c:pt>
                <c:pt idx="62">
                  <c:v>958.27300000000002</c:v>
                </c:pt>
                <c:pt idx="63">
                  <c:v>764.36300000000006</c:v>
                </c:pt>
                <c:pt idx="64">
                  <c:v>631.58699999999999</c:v>
                </c:pt>
                <c:pt idx="65">
                  <c:v>424.28</c:v>
                </c:pt>
                <c:pt idx="66">
                  <c:v>625.678</c:v>
                </c:pt>
                <c:pt idx="67">
                  <c:v>827.20399999999995</c:v>
                </c:pt>
                <c:pt idx="68">
                  <c:v>1143.6569999999999</c:v>
                </c:pt>
                <c:pt idx="69">
                  <c:v>1824.2280000000001</c:v>
                </c:pt>
                <c:pt idx="70">
                  <c:v>1889.7829999999999</c:v>
                </c:pt>
                <c:pt idx="71">
                  <c:v>1685.742</c:v>
                </c:pt>
                <c:pt idx="72">
                  <c:v>2055.6379999999999</c:v>
                </c:pt>
                <c:pt idx="73">
                  <c:v>2150.2809999999999</c:v>
                </c:pt>
                <c:pt idx="74">
                  <c:v>2874.192</c:v>
                </c:pt>
                <c:pt idx="75">
                  <c:v>3284.5160000000001</c:v>
                </c:pt>
                <c:pt idx="76">
                  <c:v>3163.44</c:v>
                </c:pt>
                <c:pt idx="77">
                  <c:v>3060.0160000000001</c:v>
                </c:pt>
                <c:pt idx="78">
                  <c:v>2860.06</c:v>
                </c:pt>
                <c:pt idx="79">
                  <c:v>2940.1179999999999</c:v>
                </c:pt>
                <c:pt idx="80">
                  <c:v>3171.3130000000001</c:v>
                </c:pt>
                <c:pt idx="81">
                  <c:v>3270.3969999999999</c:v>
                </c:pt>
                <c:pt idx="82">
                  <c:v>3211.308</c:v>
                </c:pt>
                <c:pt idx="83">
                  <c:v>3204.6709999999998</c:v>
                </c:pt>
                <c:pt idx="84">
                  <c:v>3235.8939999999998</c:v>
                </c:pt>
                <c:pt idx="85">
                  <c:v>3287.3310000000001</c:v>
                </c:pt>
                <c:pt idx="86">
                  <c:v>3309.8580000000002</c:v>
                </c:pt>
                <c:pt idx="87">
                  <c:v>3223.098</c:v>
                </c:pt>
                <c:pt idx="88">
                  <c:v>3006.8870000000002</c:v>
                </c:pt>
                <c:pt idx="89">
                  <c:v>2659.5639999999999</c:v>
                </c:pt>
                <c:pt idx="90">
                  <c:v>2592.75</c:v>
                </c:pt>
                <c:pt idx="91">
                  <c:v>2344.2809999999999</c:v>
                </c:pt>
                <c:pt idx="92">
                  <c:v>1775.722</c:v>
                </c:pt>
                <c:pt idx="93">
                  <c:v>1570.816</c:v>
                </c:pt>
                <c:pt idx="94">
                  <c:v>1436.942</c:v>
                </c:pt>
                <c:pt idx="95">
                  <c:v>1284.98</c:v>
                </c:pt>
                <c:pt idx="96">
                  <c:v>1181.2349999999999</c:v>
                </c:pt>
                <c:pt idx="97">
                  <c:v>1194.3969999999999</c:v>
                </c:pt>
                <c:pt idx="98">
                  <c:v>1205.9839999999999</c:v>
                </c:pt>
                <c:pt idx="99">
                  <c:v>1019.899</c:v>
                </c:pt>
                <c:pt idx="100">
                  <c:v>828.21799999999996</c:v>
                </c:pt>
                <c:pt idx="101">
                  <c:v>804.82299999999998</c:v>
                </c:pt>
                <c:pt idx="102">
                  <c:v>617.16899999999998</c:v>
                </c:pt>
                <c:pt idx="103">
                  <c:v>385.089</c:v>
                </c:pt>
                <c:pt idx="104">
                  <c:v>188.90100000000001</c:v>
                </c:pt>
                <c:pt idx="105">
                  <c:v>209.304</c:v>
                </c:pt>
                <c:pt idx="106">
                  <c:v>320.88799999999998</c:v>
                </c:pt>
                <c:pt idx="107">
                  <c:v>397.90100000000001</c:v>
                </c:pt>
                <c:pt idx="108">
                  <c:v>368.40600000000001</c:v>
                </c:pt>
                <c:pt idx="109">
                  <c:v>524.17700000000002</c:v>
                </c:pt>
                <c:pt idx="110">
                  <c:v>772.94799999999998</c:v>
                </c:pt>
                <c:pt idx="111">
                  <c:v>1192.9079999999999</c:v>
                </c:pt>
                <c:pt idx="112">
                  <c:v>1537.499</c:v>
                </c:pt>
                <c:pt idx="113">
                  <c:v>1993.1130000000001</c:v>
                </c:pt>
                <c:pt idx="114">
                  <c:v>2345.8069999999998</c:v>
                </c:pt>
                <c:pt idx="115">
                  <c:v>2600.3420000000001</c:v>
                </c:pt>
                <c:pt idx="116">
                  <c:v>2827.7370000000001</c:v>
                </c:pt>
                <c:pt idx="117">
                  <c:v>3120.0590000000002</c:v>
                </c:pt>
                <c:pt idx="118">
                  <c:v>3267.49</c:v>
                </c:pt>
                <c:pt idx="119">
                  <c:v>3358.163</c:v>
                </c:pt>
                <c:pt idx="120">
                  <c:v>3436.0450000000001</c:v>
                </c:pt>
                <c:pt idx="121">
                  <c:v>3412.0509999999999</c:v>
                </c:pt>
                <c:pt idx="122">
                  <c:v>3390.99</c:v>
                </c:pt>
                <c:pt idx="123">
                  <c:v>3314.049</c:v>
                </c:pt>
                <c:pt idx="124">
                  <c:v>3250.1419999999998</c:v>
                </c:pt>
                <c:pt idx="125">
                  <c:v>3195.1550000000002</c:v>
                </c:pt>
                <c:pt idx="126">
                  <c:v>3114.9</c:v>
                </c:pt>
                <c:pt idx="127">
                  <c:v>2999.0819999999999</c:v>
                </c:pt>
                <c:pt idx="128">
                  <c:v>2615.0120000000002</c:v>
                </c:pt>
                <c:pt idx="129">
                  <c:v>2316.0940000000001</c:v>
                </c:pt>
                <c:pt idx="130">
                  <c:v>2129.0859999999998</c:v>
                </c:pt>
                <c:pt idx="131">
                  <c:v>1846.0940000000001</c:v>
                </c:pt>
                <c:pt idx="132">
                  <c:v>1339.01</c:v>
                </c:pt>
                <c:pt idx="133">
                  <c:v>970.11599999999999</c:v>
                </c:pt>
                <c:pt idx="134">
                  <c:v>884.03300000000002</c:v>
                </c:pt>
                <c:pt idx="135">
                  <c:v>950.01499999999999</c:v>
                </c:pt>
                <c:pt idx="136">
                  <c:v>882.19799999999998</c:v>
                </c:pt>
                <c:pt idx="137">
                  <c:v>623.12</c:v>
                </c:pt>
                <c:pt idx="138">
                  <c:v>398.85899999999998</c:v>
                </c:pt>
                <c:pt idx="139">
                  <c:v>338</c:v>
                </c:pt>
                <c:pt idx="140">
                  <c:v>592</c:v>
                </c:pt>
                <c:pt idx="141">
                  <c:v>1092.8989999999999</c:v>
                </c:pt>
                <c:pt idx="142">
                  <c:v>1717.155</c:v>
                </c:pt>
                <c:pt idx="143">
                  <c:v>1826.364</c:v>
                </c:pt>
                <c:pt idx="144">
                  <c:v>1899.2049999999999</c:v>
                </c:pt>
                <c:pt idx="145">
                  <c:v>1890.268</c:v>
                </c:pt>
                <c:pt idx="146">
                  <c:v>1834.5540000000001</c:v>
                </c:pt>
                <c:pt idx="147">
                  <c:v>1689.69</c:v>
                </c:pt>
                <c:pt idx="148">
                  <c:v>1438.914</c:v>
                </c:pt>
                <c:pt idx="149">
                  <c:v>1185.664</c:v>
                </c:pt>
                <c:pt idx="150">
                  <c:v>1348.85</c:v>
                </c:pt>
                <c:pt idx="151">
                  <c:v>1386.356</c:v>
                </c:pt>
                <c:pt idx="152">
                  <c:v>1256.068</c:v>
                </c:pt>
                <c:pt idx="153">
                  <c:v>1032.7449999999999</c:v>
                </c:pt>
                <c:pt idx="154">
                  <c:v>1191.3869999999999</c:v>
                </c:pt>
                <c:pt idx="155">
                  <c:v>1498.8019999999999</c:v>
                </c:pt>
                <c:pt idx="156">
                  <c:v>1506.9760000000001</c:v>
                </c:pt>
                <c:pt idx="157">
                  <c:v>2250.8490000000002</c:v>
                </c:pt>
                <c:pt idx="158">
                  <c:v>3082.8389999999999</c:v>
                </c:pt>
                <c:pt idx="159">
                  <c:v>3209.3110000000001</c:v>
                </c:pt>
                <c:pt idx="160">
                  <c:v>3294.0819999999999</c:v>
                </c:pt>
                <c:pt idx="161">
                  <c:v>3335.527</c:v>
                </c:pt>
                <c:pt idx="162">
                  <c:v>3237.366</c:v>
                </c:pt>
                <c:pt idx="163">
                  <c:v>3418.7710000000002</c:v>
                </c:pt>
                <c:pt idx="164">
                  <c:v>3485.357</c:v>
                </c:pt>
                <c:pt idx="165">
                  <c:v>3391.5540000000001</c:v>
                </c:pt>
                <c:pt idx="166">
                  <c:v>3152.1970000000001</c:v>
                </c:pt>
                <c:pt idx="167">
                  <c:v>2764.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241-4602-9258-A76CF9AB45C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ew Solar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F$2:$F$169</c:f>
              <c:numCache>
                <c:formatCode>General</c:formatCode>
                <c:ptCount val="16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420</c:v>
                </c:pt>
                <c:pt idx="7">
                  <c:v>420</c:v>
                </c:pt>
                <c:pt idx="8">
                  <c:v>840</c:v>
                </c:pt>
                <c:pt idx="9">
                  <c:v>2100</c:v>
                </c:pt>
                <c:pt idx="10">
                  <c:v>2100</c:v>
                </c:pt>
                <c:pt idx="11">
                  <c:v>2100</c:v>
                </c:pt>
                <c:pt idx="12">
                  <c:v>2520</c:v>
                </c:pt>
                <c:pt idx="13">
                  <c:v>2940</c:v>
                </c:pt>
                <c:pt idx="14">
                  <c:v>2940</c:v>
                </c:pt>
                <c:pt idx="15">
                  <c:v>2100</c:v>
                </c:pt>
                <c:pt idx="16">
                  <c:v>420</c:v>
                </c:pt>
                <c:pt idx="17">
                  <c:v>42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2940</c:v>
                </c:pt>
                <c:pt idx="33">
                  <c:v>3360</c:v>
                </c:pt>
                <c:pt idx="34">
                  <c:v>3360</c:v>
                </c:pt>
                <c:pt idx="35">
                  <c:v>3780</c:v>
                </c:pt>
                <c:pt idx="36">
                  <c:v>2940</c:v>
                </c:pt>
                <c:pt idx="37">
                  <c:v>3360</c:v>
                </c:pt>
                <c:pt idx="38">
                  <c:v>3360</c:v>
                </c:pt>
                <c:pt idx="39">
                  <c:v>2100</c:v>
                </c:pt>
                <c:pt idx="40">
                  <c:v>1680</c:v>
                </c:pt>
                <c:pt idx="41">
                  <c:v>840</c:v>
                </c:pt>
                <c:pt idx="42">
                  <c:v>84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1260</c:v>
                </c:pt>
                <c:pt idx="56">
                  <c:v>2940</c:v>
                </c:pt>
                <c:pt idx="57">
                  <c:v>2520</c:v>
                </c:pt>
                <c:pt idx="58">
                  <c:v>2940</c:v>
                </c:pt>
                <c:pt idx="59">
                  <c:v>3780</c:v>
                </c:pt>
                <c:pt idx="60">
                  <c:v>2940</c:v>
                </c:pt>
                <c:pt idx="61">
                  <c:v>3780</c:v>
                </c:pt>
                <c:pt idx="62">
                  <c:v>3780</c:v>
                </c:pt>
                <c:pt idx="63">
                  <c:v>2940</c:v>
                </c:pt>
                <c:pt idx="64">
                  <c:v>3780</c:v>
                </c:pt>
                <c:pt idx="65">
                  <c:v>2100</c:v>
                </c:pt>
                <c:pt idx="66">
                  <c:v>840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0</c:v>
                </c:pt>
                <c:pt idx="71">
                  <c:v>0</c:v>
                </c:pt>
                <c:pt idx="72">
                  <c:v>0</c:v>
                </c:pt>
                <c:pt idx="73">
                  <c:v>0</c:v>
                </c:pt>
                <c:pt idx="74">
                  <c:v>0</c:v>
                </c:pt>
                <c:pt idx="75">
                  <c:v>0</c:v>
                </c:pt>
                <c:pt idx="76">
                  <c:v>0</c:v>
                </c:pt>
                <c:pt idx="77">
                  <c:v>0</c:v>
                </c:pt>
                <c:pt idx="78">
                  <c:v>0</c:v>
                </c:pt>
                <c:pt idx="79">
                  <c:v>0</c:v>
                </c:pt>
                <c:pt idx="80">
                  <c:v>0</c:v>
                </c:pt>
                <c:pt idx="81">
                  <c:v>0</c:v>
                </c:pt>
                <c:pt idx="82">
                  <c:v>0</c:v>
                </c:pt>
                <c:pt idx="83">
                  <c:v>0</c:v>
                </c:pt>
                <c:pt idx="84">
                  <c:v>0</c:v>
                </c:pt>
                <c:pt idx="85">
                  <c:v>0</c:v>
                </c:pt>
                <c:pt idx="86">
                  <c:v>420</c:v>
                </c:pt>
                <c:pt idx="87">
                  <c:v>420</c:v>
                </c:pt>
                <c:pt idx="88">
                  <c:v>84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1260</c:v>
                </c:pt>
                <c:pt idx="104">
                  <c:v>3360</c:v>
                </c:pt>
                <c:pt idx="105">
                  <c:v>3360</c:v>
                </c:pt>
                <c:pt idx="106">
                  <c:v>3360</c:v>
                </c:pt>
                <c:pt idx="107">
                  <c:v>3780</c:v>
                </c:pt>
                <c:pt idx="108">
                  <c:v>3780</c:v>
                </c:pt>
                <c:pt idx="109">
                  <c:v>3780</c:v>
                </c:pt>
                <c:pt idx="110">
                  <c:v>2940</c:v>
                </c:pt>
                <c:pt idx="111">
                  <c:v>3780</c:v>
                </c:pt>
                <c:pt idx="112">
                  <c:v>3780</c:v>
                </c:pt>
                <c:pt idx="113">
                  <c:v>84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0</c:v>
                </c:pt>
                <c:pt idx="118">
                  <c:v>0</c:v>
                </c:pt>
                <c:pt idx="119">
                  <c:v>0</c:v>
                </c:pt>
                <c:pt idx="120">
                  <c:v>0</c:v>
                </c:pt>
                <c:pt idx="121">
                  <c:v>0</c:v>
                </c:pt>
                <c:pt idx="122">
                  <c:v>0</c:v>
                </c:pt>
                <c:pt idx="123">
                  <c:v>0</c:v>
                </c:pt>
                <c:pt idx="124">
                  <c:v>0</c:v>
                </c:pt>
                <c:pt idx="125">
                  <c:v>0</c:v>
                </c:pt>
                <c:pt idx="126">
                  <c:v>0</c:v>
                </c:pt>
                <c:pt idx="127">
                  <c:v>420</c:v>
                </c:pt>
                <c:pt idx="128">
                  <c:v>2520</c:v>
                </c:pt>
                <c:pt idx="129">
                  <c:v>2940</c:v>
                </c:pt>
                <c:pt idx="130">
                  <c:v>2940</c:v>
                </c:pt>
                <c:pt idx="131">
                  <c:v>3780</c:v>
                </c:pt>
                <c:pt idx="132">
                  <c:v>2940</c:v>
                </c:pt>
                <c:pt idx="133">
                  <c:v>3360</c:v>
                </c:pt>
                <c:pt idx="134">
                  <c:v>2940</c:v>
                </c:pt>
                <c:pt idx="135">
                  <c:v>2940</c:v>
                </c:pt>
                <c:pt idx="136">
                  <c:v>2100</c:v>
                </c:pt>
                <c:pt idx="137">
                  <c:v>840</c:v>
                </c:pt>
                <c:pt idx="138">
                  <c:v>0</c:v>
                </c:pt>
                <c:pt idx="139">
                  <c:v>0</c:v>
                </c:pt>
                <c:pt idx="140">
                  <c:v>0</c:v>
                </c:pt>
                <c:pt idx="141">
                  <c:v>0</c:v>
                </c:pt>
                <c:pt idx="142">
                  <c:v>0</c:v>
                </c:pt>
                <c:pt idx="143">
                  <c:v>0</c:v>
                </c:pt>
                <c:pt idx="144">
                  <c:v>0</c:v>
                </c:pt>
                <c:pt idx="145">
                  <c:v>0</c:v>
                </c:pt>
                <c:pt idx="146">
                  <c:v>0</c:v>
                </c:pt>
                <c:pt idx="147">
                  <c:v>0</c:v>
                </c:pt>
                <c:pt idx="148">
                  <c:v>0</c:v>
                </c:pt>
                <c:pt idx="149">
                  <c:v>0</c:v>
                </c:pt>
                <c:pt idx="150">
                  <c:v>0</c:v>
                </c:pt>
                <c:pt idx="151">
                  <c:v>420</c:v>
                </c:pt>
                <c:pt idx="152">
                  <c:v>840</c:v>
                </c:pt>
                <c:pt idx="153">
                  <c:v>420</c:v>
                </c:pt>
                <c:pt idx="154">
                  <c:v>1260</c:v>
                </c:pt>
                <c:pt idx="155">
                  <c:v>2100</c:v>
                </c:pt>
                <c:pt idx="156">
                  <c:v>2940</c:v>
                </c:pt>
                <c:pt idx="157">
                  <c:v>2520</c:v>
                </c:pt>
                <c:pt idx="158">
                  <c:v>2940</c:v>
                </c:pt>
                <c:pt idx="159">
                  <c:v>1680</c:v>
                </c:pt>
                <c:pt idx="160">
                  <c:v>1680</c:v>
                </c:pt>
                <c:pt idx="161">
                  <c:v>420</c:v>
                </c:pt>
                <c:pt idx="162">
                  <c:v>840</c:v>
                </c:pt>
                <c:pt idx="163">
                  <c:v>0</c:v>
                </c:pt>
                <c:pt idx="164">
                  <c:v>0</c:v>
                </c:pt>
                <c:pt idx="165">
                  <c:v>0</c:v>
                </c:pt>
                <c:pt idx="166">
                  <c:v>0</c:v>
                </c:pt>
                <c:pt idx="16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62627624"/>
        <c:axId val="862624096"/>
      </c:barChart>
      <c:lineChart>
        <c:grouping val="standar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Load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G$2:$G$169</c:f>
              <c:numCache>
                <c:formatCode>#,##0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639.062</c:v>
                </c:pt>
                <c:pt idx="7">
                  <c:v>11146.269</c:v>
                </c:pt>
                <c:pt idx="8">
                  <c:v>11286.681</c:v>
                </c:pt>
                <c:pt idx="9">
                  <c:v>11331.983</c:v>
                </c:pt>
                <c:pt idx="10">
                  <c:v>11211.447</c:v>
                </c:pt>
                <c:pt idx="11">
                  <c:v>11030.48</c:v>
                </c:pt>
                <c:pt idx="12">
                  <c:v>10965.377</c:v>
                </c:pt>
                <c:pt idx="13">
                  <c:v>10875.217000000001</c:v>
                </c:pt>
                <c:pt idx="14">
                  <c:v>10682.218999999999</c:v>
                </c:pt>
                <c:pt idx="15">
                  <c:v>10537.834999999999</c:v>
                </c:pt>
                <c:pt idx="16">
                  <c:v>10463.782999999999</c:v>
                </c:pt>
                <c:pt idx="17">
                  <c:v>1042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10703.424999999999</c:v>
                </c:pt>
                <c:pt idx="33">
                  <c:v>10776.235000000001</c:v>
                </c:pt>
                <c:pt idx="34">
                  <c:v>10840.290999999999</c:v>
                </c:pt>
                <c:pt idx="35">
                  <c:v>10747.794</c:v>
                </c:pt>
                <c:pt idx="36">
                  <c:v>10668.612999999999</c:v>
                </c:pt>
                <c:pt idx="37">
                  <c:v>10634.04</c:v>
                </c:pt>
                <c:pt idx="38">
                  <c:v>10489.718000000001</c:v>
                </c:pt>
                <c:pt idx="39">
                  <c:v>10350.338</c:v>
                </c:pt>
                <c:pt idx="40">
                  <c:v>10312.652</c:v>
                </c:pt>
                <c:pt idx="41">
                  <c:v>10247.798000000001</c:v>
                </c:pt>
                <c:pt idx="42">
                  <c:v>10170.188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9302.3490000000002</c:v>
                </c:pt>
                <c:pt idx="56">
                  <c:v>9491.866</c:v>
                </c:pt>
                <c:pt idx="57">
                  <c:v>9578.8940000000002</c:v>
                </c:pt>
                <c:pt idx="58">
                  <c:v>9553.7669999999998</c:v>
                </c:pt>
                <c:pt idx="59">
                  <c:v>9468.0349999999999</c:v>
                </c:pt>
                <c:pt idx="60">
                  <c:v>9297.616</c:v>
                </c:pt>
                <c:pt idx="61">
                  <c:v>9075.1260000000002</c:v>
                </c:pt>
                <c:pt idx="62">
                  <c:v>8917.5769999999993</c:v>
                </c:pt>
                <c:pt idx="63">
                  <c:v>8742.6650000000009</c:v>
                </c:pt>
                <c:pt idx="64">
                  <c:v>8715.9719999999998</c:v>
                </c:pt>
                <c:pt idx="65">
                  <c:v>8701.65</c:v>
                </c:pt>
                <c:pt idx="66">
                  <c:v>873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877.7160000000003</c:v>
                </c:pt>
                <c:pt idx="87">
                  <c:v>9766.1229999999996</c:v>
                </c:pt>
                <c:pt idx="88">
                  <c:v>987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10963.313</c:v>
                </c:pt>
                <c:pt idx="104">
                  <c:v>11012.77</c:v>
                </c:pt>
                <c:pt idx="105">
                  <c:v>10956.457</c:v>
                </c:pt>
                <c:pt idx="106">
                  <c:v>10932.933000000001</c:v>
                </c:pt>
                <c:pt idx="107">
                  <c:v>10849.01</c:v>
                </c:pt>
                <c:pt idx="108">
                  <c:v>10747.627</c:v>
                </c:pt>
                <c:pt idx="109">
                  <c:v>10705.517</c:v>
                </c:pt>
                <c:pt idx="110">
                  <c:v>10520.437</c:v>
                </c:pt>
                <c:pt idx="111">
                  <c:v>10355.303</c:v>
                </c:pt>
                <c:pt idx="112">
                  <c:v>10237.811</c:v>
                </c:pt>
                <c:pt idx="113">
                  <c:v>10233.602999999999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10404.998</c:v>
                </c:pt>
                <c:pt idx="128">
                  <c:v>10497.998</c:v>
                </c:pt>
                <c:pt idx="129">
                  <c:v>10527.998</c:v>
                </c:pt>
                <c:pt idx="130">
                  <c:v>10585.998</c:v>
                </c:pt>
                <c:pt idx="131">
                  <c:v>10620.998</c:v>
                </c:pt>
                <c:pt idx="132">
                  <c:v>10621.998</c:v>
                </c:pt>
                <c:pt idx="133">
                  <c:v>10704.998</c:v>
                </c:pt>
                <c:pt idx="134">
                  <c:v>10688.998</c:v>
                </c:pt>
                <c:pt idx="135">
                  <c:v>10566.998</c:v>
                </c:pt>
                <c:pt idx="136">
                  <c:v>10445.242</c:v>
                </c:pt>
                <c:pt idx="137">
                  <c:v>10267.25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10230.671</c:v>
                </c:pt>
                <c:pt idx="152">
                  <c:v>10464.319</c:v>
                </c:pt>
                <c:pt idx="153">
                  <c:v>10544.950999999999</c:v>
                </c:pt>
                <c:pt idx="154">
                  <c:v>10600.562</c:v>
                </c:pt>
                <c:pt idx="155">
                  <c:v>10578.138999999999</c:v>
                </c:pt>
                <c:pt idx="156">
                  <c:v>10609.296</c:v>
                </c:pt>
                <c:pt idx="157">
                  <c:v>10753.886</c:v>
                </c:pt>
                <c:pt idx="158">
                  <c:v>10748.31</c:v>
                </c:pt>
                <c:pt idx="159">
                  <c:v>10673.712</c:v>
                </c:pt>
                <c:pt idx="160">
                  <c:v>10621.297</c:v>
                </c:pt>
                <c:pt idx="161">
                  <c:v>10527.697</c:v>
                </c:pt>
                <c:pt idx="162">
                  <c:v>10323.829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 formatCode="_(* #,##0_);_(* \(#,##0\);_(* &quot;-&quot;??_);_(@_)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241-4602-9258-A76CF9AB45C7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oad less DG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3:$A$169</c:f>
              <c:strCache>
                <c:ptCount val="156"/>
                <c:pt idx="9">
                  <c:v>Sunday</c:v>
                </c:pt>
                <c:pt idx="35">
                  <c:v>Monday</c:v>
                </c:pt>
                <c:pt idx="59">
                  <c:v>Tuesday</c:v>
                </c:pt>
                <c:pt idx="83">
                  <c:v>Wednesday</c:v>
                </c:pt>
                <c:pt idx="105">
                  <c:v>Thursday</c:v>
                </c:pt>
                <c:pt idx="131">
                  <c:v>Friday</c:v>
                </c:pt>
                <c:pt idx="155">
                  <c:v>Saturday</c:v>
                </c:pt>
              </c:strCache>
            </c:strRef>
          </c:cat>
          <c:val>
            <c:numRef>
              <c:f>Sheet1!$H$2:$H$169</c:f>
              <c:numCache>
                <c:formatCode>_(* #,##0_);_(* \(#,##0\);_(* "-"??_);_(@_)</c:formatCode>
                <c:ptCount val="168"/>
                <c:pt idx="0">
                  <c:v>9219.8359999999993</c:v>
                </c:pt>
                <c:pt idx="1">
                  <c:v>8981.2109999999993</c:v>
                </c:pt>
                <c:pt idx="2">
                  <c:v>8837.8539999999994</c:v>
                </c:pt>
                <c:pt idx="3">
                  <c:v>8815.098</c:v>
                </c:pt>
                <c:pt idx="4">
                  <c:v>9069.9770000000008</c:v>
                </c:pt>
                <c:pt idx="5">
                  <c:v>9725.9639999999999</c:v>
                </c:pt>
                <c:pt idx="6">
                  <c:v>10219.062</c:v>
                </c:pt>
                <c:pt idx="7">
                  <c:v>10726.269</c:v>
                </c:pt>
                <c:pt idx="8">
                  <c:v>10446.681</c:v>
                </c:pt>
                <c:pt idx="9">
                  <c:v>9231.9830000000002</c:v>
                </c:pt>
                <c:pt idx="10">
                  <c:v>9111.4470000000001</c:v>
                </c:pt>
                <c:pt idx="11">
                  <c:v>8930.48</c:v>
                </c:pt>
                <c:pt idx="12">
                  <c:v>8445.3770000000004</c:v>
                </c:pt>
                <c:pt idx="13">
                  <c:v>7935.2170000000006</c:v>
                </c:pt>
                <c:pt idx="14">
                  <c:v>7742.2189999999991</c:v>
                </c:pt>
                <c:pt idx="15">
                  <c:v>8437.8349999999991</c:v>
                </c:pt>
                <c:pt idx="16">
                  <c:v>10043.782999999999</c:v>
                </c:pt>
                <c:pt idx="17">
                  <c:v>10008.439</c:v>
                </c:pt>
                <c:pt idx="18">
                  <c:v>10375.567999999999</c:v>
                </c:pt>
                <c:pt idx="19">
                  <c:v>10644.771000000001</c:v>
                </c:pt>
                <c:pt idx="20">
                  <c:v>10619.578</c:v>
                </c:pt>
                <c:pt idx="21">
                  <c:v>10199.895</c:v>
                </c:pt>
                <c:pt idx="22">
                  <c:v>9575.6119999999992</c:v>
                </c:pt>
                <c:pt idx="23">
                  <c:v>9038.0920000000006</c:v>
                </c:pt>
                <c:pt idx="24">
                  <c:v>8617.9079999999994</c:v>
                </c:pt>
                <c:pt idx="25">
                  <c:v>8382.4809999999998</c:v>
                </c:pt>
                <c:pt idx="26">
                  <c:v>8223.4750000000004</c:v>
                </c:pt>
                <c:pt idx="27">
                  <c:v>8169.77</c:v>
                </c:pt>
                <c:pt idx="28">
                  <c:v>8417.1010000000006</c:v>
                </c:pt>
                <c:pt idx="29">
                  <c:v>9075.7180000000008</c:v>
                </c:pt>
                <c:pt idx="30">
                  <c:v>10025.797</c:v>
                </c:pt>
                <c:pt idx="31">
                  <c:v>10608.08</c:v>
                </c:pt>
                <c:pt idx="32">
                  <c:v>7763.4249999999993</c:v>
                </c:pt>
                <c:pt idx="33">
                  <c:v>7416.2350000000006</c:v>
                </c:pt>
                <c:pt idx="34">
                  <c:v>7480.2909999999993</c:v>
                </c:pt>
                <c:pt idx="35">
                  <c:v>6967.7939999999999</c:v>
                </c:pt>
                <c:pt idx="36">
                  <c:v>7728.6129999999994</c:v>
                </c:pt>
                <c:pt idx="37">
                  <c:v>7274.0400000000009</c:v>
                </c:pt>
                <c:pt idx="38">
                  <c:v>7129.7180000000008</c:v>
                </c:pt>
                <c:pt idx="39">
                  <c:v>8250.3379999999997</c:v>
                </c:pt>
                <c:pt idx="40">
                  <c:v>8632.652</c:v>
                </c:pt>
                <c:pt idx="41">
                  <c:v>9407.7980000000007</c:v>
                </c:pt>
                <c:pt idx="42">
                  <c:v>9330.1880000000001</c:v>
                </c:pt>
                <c:pt idx="43">
                  <c:v>10353.481</c:v>
                </c:pt>
                <c:pt idx="44">
                  <c:v>10474.468999999999</c:v>
                </c:pt>
                <c:pt idx="45">
                  <c:v>10194.415000000001</c:v>
                </c:pt>
                <c:pt idx="46">
                  <c:v>9684.3369999999995</c:v>
                </c:pt>
                <c:pt idx="47">
                  <c:v>9187.018</c:v>
                </c:pt>
                <c:pt idx="48">
                  <c:v>8801.9249999999993</c:v>
                </c:pt>
                <c:pt idx="49">
                  <c:v>8584.5640000000003</c:v>
                </c:pt>
                <c:pt idx="50">
                  <c:v>8449.4719999999998</c:v>
                </c:pt>
                <c:pt idx="51">
                  <c:v>8415.4089999999997</c:v>
                </c:pt>
                <c:pt idx="52">
                  <c:v>8500.2729999999992</c:v>
                </c:pt>
                <c:pt idx="53">
                  <c:v>8789.39</c:v>
                </c:pt>
                <c:pt idx="54">
                  <c:v>9046.9860000000008</c:v>
                </c:pt>
                <c:pt idx="55">
                  <c:v>8042.3490000000002</c:v>
                </c:pt>
                <c:pt idx="56">
                  <c:v>6551.866</c:v>
                </c:pt>
                <c:pt idx="57">
                  <c:v>7058.8940000000002</c:v>
                </c:pt>
                <c:pt idx="58">
                  <c:v>6613.7669999999998</c:v>
                </c:pt>
                <c:pt idx="59">
                  <c:v>5688.0349999999999</c:v>
                </c:pt>
                <c:pt idx="60">
                  <c:v>6357.616</c:v>
                </c:pt>
                <c:pt idx="61">
                  <c:v>5295.1260000000002</c:v>
                </c:pt>
                <c:pt idx="62">
                  <c:v>5137.5769999999993</c:v>
                </c:pt>
                <c:pt idx="63">
                  <c:v>5802.6650000000009</c:v>
                </c:pt>
                <c:pt idx="64">
                  <c:v>4935.9719999999998</c:v>
                </c:pt>
                <c:pt idx="65">
                  <c:v>6601.65</c:v>
                </c:pt>
                <c:pt idx="66">
                  <c:v>7898.0110000000004</c:v>
                </c:pt>
                <c:pt idx="67">
                  <c:v>9059.2800000000007</c:v>
                </c:pt>
                <c:pt idx="68">
                  <c:v>9352.741</c:v>
                </c:pt>
                <c:pt idx="69">
                  <c:v>9237.5910000000003</c:v>
                </c:pt>
                <c:pt idx="70">
                  <c:v>8953.9470000000001</c:v>
                </c:pt>
                <c:pt idx="71">
                  <c:v>8560.7360000000008</c:v>
                </c:pt>
                <c:pt idx="72">
                  <c:v>8310.8829999999998</c:v>
                </c:pt>
                <c:pt idx="73">
                  <c:v>8126.4009999999998</c:v>
                </c:pt>
                <c:pt idx="74">
                  <c:v>7995.4629999999997</c:v>
                </c:pt>
                <c:pt idx="75">
                  <c:v>8004.6490000000003</c:v>
                </c:pt>
                <c:pt idx="76">
                  <c:v>8071.5969999999998</c:v>
                </c:pt>
                <c:pt idx="77">
                  <c:v>8237.0470000000005</c:v>
                </c:pt>
                <c:pt idx="78">
                  <c:v>8489.0419999999995</c:v>
                </c:pt>
                <c:pt idx="79">
                  <c:v>8663.2109999999993</c:v>
                </c:pt>
                <c:pt idx="80">
                  <c:v>9120.3799999999992</c:v>
                </c:pt>
                <c:pt idx="81">
                  <c:v>9473.4609999999993</c:v>
                </c:pt>
                <c:pt idx="82">
                  <c:v>9774.0159999999996</c:v>
                </c:pt>
                <c:pt idx="83">
                  <c:v>9925.6319999999996</c:v>
                </c:pt>
                <c:pt idx="84">
                  <c:v>10049.835999999999</c:v>
                </c:pt>
                <c:pt idx="85">
                  <c:v>9916.2819999999992</c:v>
                </c:pt>
                <c:pt idx="86">
                  <c:v>9457.7160000000003</c:v>
                </c:pt>
                <c:pt idx="87">
                  <c:v>9346.1229999999996</c:v>
                </c:pt>
                <c:pt idx="88">
                  <c:v>9033.2049999999999</c:v>
                </c:pt>
                <c:pt idx="89">
                  <c:v>9943.4969999999994</c:v>
                </c:pt>
                <c:pt idx="90">
                  <c:v>10049.803</c:v>
                </c:pt>
                <c:pt idx="91">
                  <c:v>10294.352000000001</c:v>
                </c:pt>
                <c:pt idx="92">
                  <c:v>10357.361000000001</c:v>
                </c:pt>
                <c:pt idx="93">
                  <c:v>10077.898999999999</c:v>
                </c:pt>
                <c:pt idx="94">
                  <c:v>9657.91</c:v>
                </c:pt>
                <c:pt idx="95">
                  <c:v>9189.82</c:v>
                </c:pt>
                <c:pt idx="96">
                  <c:v>8886.26</c:v>
                </c:pt>
                <c:pt idx="97">
                  <c:v>8744.2659999999996</c:v>
                </c:pt>
                <c:pt idx="98">
                  <c:v>8691.0120000000006</c:v>
                </c:pt>
                <c:pt idx="99">
                  <c:v>8721.7520000000004</c:v>
                </c:pt>
                <c:pt idx="100">
                  <c:v>9034.5720000000001</c:v>
                </c:pt>
                <c:pt idx="101">
                  <c:v>9798.08</c:v>
                </c:pt>
                <c:pt idx="102">
                  <c:v>10516.628000000001</c:v>
                </c:pt>
                <c:pt idx="103">
                  <c:v>9703.3130000000001</c:v>
                </c:pt>
                <c:pt idx="104">
                  <c:v>7652.77</c:v>
                </c:pt>
                <c:pt idx="105">
                  <c:v>7596.4570000000003</c:v>
                </c:pt>
                <c:pt idx="106">
                  <c:v>7572.9330000000009</c:v>
                </c:pt>
                <c:pt idx="107">
                  <c:v>7069.01</c:v>
                </c:pt>
                <c:pt idx="108">
                  <c:v>6967.6270000000004</c:v>
                </c:pt>
                <c:pt idx="109">
                  <c:v>6925.5169999999998</c:v>
                </c:pt>
                <c:pt idx="110">
                  <c:v>7580.4369999999999</c:v>
                </c:pt>
                <c:pt idx="111">
                  <c:v>6575.3029999999999</c:v>
                </c:pt>
                <c:pt idx="112">
                  <c:v>6457.8109999999997</c:v>
                </c:pt>
                <c:pt idx="113">
                  <c:v>9393.6029999999992</c:v>
                </c:pt>
                <c:pt idx="114">
                  <c:v>10251.017</c:v>
                </c:pt>
                <c:pt idx="115">
                  <c:v>10569.721</c:v>
                </c:pt>
                <c:pt idx="116">
                  <c:v>10593.727999999999</c:v>
                </c:pt>
                <c:pt idx="117">
                  <c:v>10216.269</c:v>
                </c:pt>
                <c:pt idx="118">
                  <c:v>9602.7289999999994</c:v>
                </c:pt>
                <c:pt idx="119">
                  <c:v>9059.2559999999994</c:v>
                </c:pt>
                <c:pt idx="120">
                  <c:v>8696.2000000000007</c:v>
                </c:pt>
                <c:pt idx="121">
                  <c:v>8511.1779999999999</c:v>
                </c:pt>
                <c:pt idx="122">
                  <c:v>8330.2350000000006</c:v>
                </c:pt>
                <c:pt idx="123">
                  <c:v>8301.2800000000007</c:v>
                </c:pt>
                <c:pt idx="124">
                  <c:v>8520.2960000000003</c:v>
                </c:pt>
                <c:pt idx="125">
                  <c:v>9137.2880000000005</c:v>
                </c:pt>
                <c:pt idx="126">
                  <c:v>9926.9979999999996</c:v>
                </c:pt>
                <c:pt idx="127">
                  <c:v>9984.9979999999996</c:v>
                </c:pt>
                <c:pt idx="128">
                  <c:v>7977.9979999999996</c:v>
                </c:pt>
                <c:pt idx="129">
                  <c:v>7587.9979999999996</c:v>
                </c:pt>
                <c:pt idx="130">
                  <c:v>7645.9979999999996</c:v>
                </c:pt>
                <c:pt idx="131">
                  <c:v>6840.9979999999996</c:v>
                </c:pt>
                <c:pt idx="132">
                  <c:v>7681.9979999999996</c:v>
                </c:pt>
                <c:pt idx="133">
                  <c:v>7344.9979999999996</c:v>
                </c:pt>
                <c:pt idx="134">
                  <c:v>7748.9979999999996</c:v>
                </c:pt>
                <c:pt idx="135">
                  <c:v>7626.9979999999996</c:v>
                </c:pt>
                <c:pt idx="136">
                  <c:v>8345.2420000000002</c:v>
                </c:pt>
                <c:pt idx="137">
                  <c:v>9427.2579999999998</c:v>
                </c:pt>
                <c:pt idx="138">
                  <c:v>10074.226000000001</c:v>
                </c:pt>
                <c:pt idx="139">
                  <c:v>10241.06</c:v>
                </c:pt>
                <c:pt idx="140">
                  <c:v>10297.109</c:v>
                </c:pt>
                <c:pt idx="141">
                  <c:v>9847.2620000000006</c:v>
                </c:pt>
                <c:pt idx="142">
                  <c:v>9240.2790000000005</c:v>
                </c:pt>
                <c:pt idx="143">
                  <c:v>8723.5349999999999</c:v>
                </c:pt>
                <c:pt idx="144">
                  <c:v>8333.4959999999992</c:v>
                </c:pt>
                <c:pt idx="145">
                  <c:v>8105.3630000000003</c:v>
                </c:pt>
                <c:pt idx="146">
                  <c:v>7959.8339999999998</c:v>
                </c:pt>
                <c:pt idx="147">
                  <c:v>7951.7489999999998</c:v>
                </c:pt>
                <c:pt idx="148">
                  <c:v>8163.12</c:v>
                </c:pt>
                <c:pt idx="149">
                  <c:v>8806.6869999999999</c:v>
                </c:pt>
                <c:pt idx="150">
                  <c:v>9641.1679999999997</c:v>
                </c:pt>
                <c:pt idx="151">
                  <c:v>9810.6710000000003</c:v>
                </c:pt>
                <c:pt idx="152">
                  <c:v>9624.3189999999995</c:v>
                </c:pt>
                <c:pt idx="153">
                  <c:v>10124.950999999999</c:v>
                </c:pt>
                <c:pt idx="154">
                  <c:v>9340.5619999999999</c:v>
                </c:pt>
                <c:pt idx="155">
                  <c:v>8478.1389999999992</c:v>
                </c:pt>
                <c:pt idx="156">
                  <c:v>7669.2960000000003</c:v>
                </c:pt>
                <c:pt idx="157">
                  <c:v>8233.8860000000004</c:v>
                </c:pt>
                <c:pt idx="158">
                  <c:v>7808.3099999999995</c:v>
                </c:pt>
                <c:pt idx="159">
                  <c:v>8993.7119999999995</c:v>
                </c:pt>
                <c:pt idx="160">
                  <c:v>8941.2970000000005</c:v>
                </c:pt>
                <c:pt idx="161">
                  <c:v>10107.697</c:v>
                </c:pt>
                <c:pt idx="162">
                  <c:v>9483.8289999999997</c:v>
                </c:pt>
                <c:pt idx="163">
                  <c:v>10498.082</c:v>
                </c:pt>
                <c:pt idx="164">
                  <c:v>10601.656999999999</c:v>
                </c:pt>
                <c:pt idx="165">
                  <c:v>10178.591</c:v>
                </c:pt>
                <c:pt idx="166">
                  <c:v>9535.6029999999992</c:v>
                </c:pt>
                <c:pt idx="167">
                  <c:v>95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1241-4602-9258-A76CF9AB45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2627624"/>
        <c:axId val="862624096"/>
      </c:lineChart>
      <c:catAx>
        <c:axId val="86262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2624096"/>
        <c:crosses val="autoZero"/>
        <c:auto val="1"/>
        <c:lblAlgn val="ctr"/>
        <c:lblOffset val="100"/>
        <c:noMultiLvlLbl val="0"/>
      </c:catAx>
      <c:valAx>
        <c:axId val="862624096"/>
        <c:scaling>
          <c:orientation val="minMax"/>
          <c:max val="25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2627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000">
          <a:solidFill>
            <a:schemeClr val="tx2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mEd Load Match of 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ad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3</c:v>
                </c:pt>
                <c:pt idx="1">
                  <c:v>3-6</c:v>
                </c:pt>
                <c:pt idx="2">
                  <c:v>6-9</c:v>
                </c:pt>
                <c:pt idx="3">
                  <c:v>9-12</c:v>
                </c:pt>
                <c:pt idx="4">
                  <c:v>12-15</c:v>
                </c:pt>
                <c:pt idx="5">
                  <c:v>15-18</c:v>
                </c:pt>
                <c:pt idx="6">
                  <c:v>18-21</c:v>
                </c:pt>
                <c:pt idx="7">
                  <c:v>21-24</c:v>
                </c:pt>
                <c:pt idx="9">
                  <c:v>0-24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7</c:v>
                </c:pt>
                <c:pt idx="1">
                  <c:v>0.62</c:v>
                </c:pt>
                <c:pt idx="2">
                  <c:v>0.52</c:v>
                </c:pt>
                <c:pt idx="3">
                  <c:v>0.45</c:v>
                </c:pt>
                <c:pt idx="4">
                  <c:v>0.38</c:v>
                </c:pt>
                <c:pt idx="5">
                  <c:v>0.32</c:v>
                </c:pt>
                <c:pt idx="6">
                  <c:v>0.27</c:v>
                </c:pt>
                <c:pt idx="7">
                  <c:v>0.23</c:v>
                </c:pt>
                <c:pt idx="9">
                  <c:v>0.43625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C9-43E1-81DF-DEDD0F3CB5C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V Charg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3</c:v>
                </c:pt>
                <c:pt idx="1">
                  <c:v>3-6</c:v>
                </c:pt>
                <c:pt idx="2">
                  <c:v>6-9</c:v>
                </c:pt>
                <c:pt idx="3">
                  <c:v>9-12</c:v>
                </c:pt>
                <c:pt idx="4">
                  <c:v>12-15</c:v>
                </c:pt>
                <c:pt idx="5">
                  <c:v>15-18</c:v>
                </c:pt>
                <c:pt idx="6">
                  <c:v>18-21</c:v>
                </c:pt>
                <c:pt idx="7">
                  <c:v>21-24</c:v>
                </c:pt>
                <c:pt idx="9">
                  <c:v>0-24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</c:numCache>
            </c:numRef>
          </c:val>
          <c:extLst>
            <c:ext xmlns:c16="http://schemas.microsoft.com/office/drawing/2014/chart" uri="{C3380CC4-5D6E-409C-BE32-E72D297353CC}">
              <c16:uniqueId val="{00000001-F0C9-43E1-81DF-DEDD0F3CB5C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port/Curtail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3</c:v>
                </c:pt>
                <c:pt idx="1">
                  <c:v>3-6</c:v>
                </c:pt>
                <c:pt idx="2">
                  <c:v>6-9</c:v>
                </c:pt>
                <c:pt idx="3">
                  <c:v>9-12</c:v>
                </c:pt>
                <c:pt idx="4">
                  <c:v>12-15</c:v>
                </c:pt>
                <c:pt idx="5">
                  <c:v>15-18</c:v>
                </c:pt>
                <c:pt idx="6">
                  <c:v>18-21</c:v>
                </c:pt>
                <c:pt idx="7">
                  <c:v>21-24</c:v>
                </c:pt>
                <c:pt idx="9">
                  <c:v>0-24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0.3</c:v>
                </c:pt>
                <c:pt idx="1">
                  <c:v>0.38</c:v>
                </c:pt>
                <c:pt idx="2">
                  <c:v>0.48</c:v>
                </c:pt>
                <c:pt idx="3">
                  <c:v>0.55000000000000004</c:v>
                </c:pt>
                <c:pt idx="4">
                  <c:v>0.62</c:v>
                </c:pt>
                <c:pt idx="5">
                  <c:v>0.68</c:v>
                </c:pt>
                <c:pt idx="6">
                  <c:v>0.73</c:v>
                </c:pt>
                <c:pt idx="7">
                  <c:v>0.77</c:v>
                </c:pt>
                <c:pt idx="9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C9-43E1-81DF-DEDD0F3CB5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12206672"/>
        <c:axId val="512211376"/>
      </c:barChart>
      <c:catAx>
        <c:axId val="51220667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Incremental Block of ComEd RE (TW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2211376"/>
        <c:crosses val="autoZero"/>
        <c:auto val="1"/>
        <c:lblAlgn val="ctr"/>
        <c:lblOffset val="100"/>
        <c:noMultiLvlLbl val="0"/>
      </c:catAx>
      <c:valAx>
        <c:axId val="51221137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2206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mEd Load Match of 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ad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3</c:v>
                </c:pt>
                <c:pt idx="1">
                  <c:v>3-6</c:v>
                </c:pt>
                <c:pt idx="2">
                  <c:v>6-9</c:v>
                </c:pt>
                <c:pt idx="3">
                  <c:v>9-12</c:v>
                </c:pt>
                <c:pt idx="4">
                  <c:v>12-15</c:v>
                </c:pt>
                <c:pt idx="5">
                  <c:v>15-18</c:v>
                </c:pt>
                <c:pt idx="6">
                  <c:v>18-21</c:v>
                </c:pt>
                <c:pt idx="7">
                  <c:v>21-24</c:v>
                </c:pt>
                <c:pt idx="9">
                  <c:v>0-24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7</c:v>
                </c:pt>
                <c:pt idx="1">
                  <c:v>0.62</c:v>
                </c:pt>
                <c:pt idx="2">
                  <c:v>0.52</c:v>
                </c:pt>
                <c:pt idx="3">
                  <c:v>0.45</c:v>
                </c:pt>
                <c:pt idx="4">
                  <c:v>0.38</c:v>
                </c:pt>
                <c:pt idx="5">
                  <c:v>0.32</c:v>
                </c:pt>
                <c:pt idx="6">
                  <c:v>0.27</c:v>
                </c:pt>
                <c:pt idx="7">
                  <c:v>0.23</c:v>
                </c:pt>
                <c:pt idx="9">
                  <c:v>0.43625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C9-43E1-81DF-DEDD0F3CB5C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V Charg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3</c:v>
                </c:pt>
                <c:pt idx="1">
                  <c:v>3-6</c:v>
                </c:pt>
                <c:pt idx="2">
                  <c:v>6-9</c:v>
                </c:pt>
                <c:pt idx="3">
                  <c:v>9-12</c:v>
                </c:pt>
                <c:pt idx="4">
                  <c:v>12-15</c:v>
                </c:pt>
                <c:pt idx="5">
                  <c:v>15-18</c:v>
                </c:pt>
                <c:pt idx="6">
                  <c:v>18-21</c:v>
                </c:pt>
                <c:pt idx="7">
                  <c:v>21-24</c:v>
                </c:pt>
                <c:pt idx="9">
                  <c:v>0-24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9.0000000000000052E-2</c:v>
                </c:pt>
                <c:pt idx="1">
                  <c:v>7.0000000000000007E-2</c:v>
                </c:pt>
                <c:pt idx="2">
                  <c:v>9.9999999999999978E-2</c:v>
                </c:pt>
                <c:pt idx="3">
                  <c:v>0.12000000000000005</c:v>
                </c:pt>
                <c:pt idx="4">
                  <c:v>0.14000000000000001</c:v>
                </c:pt>
                <c:pt idx="5">
                  <c:v>0.19999999999999996</c:v>
                </c:pt>
                <c:pt idx="6">
                  <c:v>0.24</c:v>
                </c:pt>
                <c:pt idx="7">
                  <c:v>0.24</c:v>
                </c:pt>
                <c:pt idx="9">
                  <c:v>0.151254341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0C9-43E1-81DF-DEDD0F3CB5C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port/Curtail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3</c:v>
                </c:pt>
                <c:pt idx="1">
                  <c:v>3-6</c:v>
                </c:pt>
                <c:pt idx="2">
                  <c:v>6-9</c:v>
                </c:pt>
                <c:pt idx="3">
                  <c:v>9-12</c:v>
                </c:pt>
                <c:pt idx="4">
                  <c:v>12-15</c:v>
                </c:pt>
                <c:pt idx="5">
                  <c:v>15-18</c:v>
                </c:pt>
                <c:pt idx="6">
                  <c:v>18-21</c:v>
                </c:pt>
                <c:pt idx="7">
                  <c:v>21-24</c:v>
                </c:pt>
                <c:pt idx="9">
                  <c:v>0-24</c:v>
                </c:pt>
              </c:strCache>
            </c:strRef>
          </c:cat>
          <c:val>
            <c:numRef>
              <c:f>Sheet1!$D$2:$D$11</c:f>
              <c:numCache>
                <c:formatCode>0%</c:formatCode>
                <c:ptCount val="10"/>
                <c:pt idx="0">
                  <c:v>0.21</c:v>
                </c:pt>
                <c:pt idx="1">
                  <c:v>0.31</c:v>
                </c:pt>
                <c:pt idx="2">
                  <c:v>0.38</c:v>
                </c:pt>
                <c:pt idx="3">
                  <c:v>0.43</c:v>
                </c:pt>
                <c:pt idx="4">
                  <c:v>0.48</c:v>
                </c:pt>
                <c:pt idx="5">
                  <c:v>0.48</c:v>
                </c:pt>
                <c:pt idx="6">
                  <c:v>0.49</c:v>
                </c:pt>
                <c:pt idx="7">
                  <c:v>0.53</c:v>
                </c:pt>
                <c:pt idx="9">
                  <c:v>0.412495657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C9-43E1-81DF-DEDD0F3CB5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12207456"/>
        <c:axId val="512203144"/>
      </c:barChart>
      <c:catAx>
        <c:axId val="51220745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Incremental Block of ComEd RE (TW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2203144"/>
        <c:crosses val="autoZero"/>
        <c:auto val="1"/>
        <c:lblAlgn val="ctr"/>
        <c:lblOffset val="100"/>
        <c:noMultiLvlLbl val="0"/>
      </c:catAx>
      <c:valAx>
        <c:axId val="512203144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2207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ComEd</a:t>
            </a:r>
            <a:r>
              <a:rPr lang="en-US" baseline="0" dirty="0"/>
              <a:t> Hourly Load Match (MWh)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e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2018 Actual</c:v>
                </c:pt>
              </c:strCache>
            </c:strRef>
          </c:cat>
          <c:val>
            <c:numRef>
              <c:f>Sheet1!$B$2</c:f>
              <c:numCache>
                <c:formatCode>_(* #,##0_);_(* \(#,##0\);_(* "-"??_);_(@_)</c:formatCode>
                <c:ptCount val="1"/>
                <c:pt idx="0">
                  <c:v>26064305.3799996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84-4293-9B63-C8B6A0EF2C7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mports</c:v>
                </c:pt>
              </c:strCache>
            </c:strRef>
          </c:tx>
          <c:spPr>
            <a:noFill/>
            <a:ln>
              <a:solidFill>
                <a:schemeClr val="accent1"/>
              </a:solidFill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2018 Actual</c:v>
                </c:pt>
              </c:strCache>
            </c:strRef>
          </c:cat>
          <c:val>
            <c:numRef>
              <c:f>Sheet1!$C$2</c:f>
              <c:numCache>
                <c:formatCode>_(* #,##0_);_(* \(#,##0\);_(* "-"??_);_(@_)</c:formatCode>
                <c:ptCount val="1"/>
                <c:pt idx="0">
                  <c:v>73756565.620000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84-4293-9B63-C8B6A0EF2C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2568336"/>
        <c:axId val="162568728"/>
      </c:barChart>
      <c:catAx>
        <c:axId val="162568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568728"/>
        <c:crosses val="autoZero"/>
        <c:auto val="1"/>
        <c:lblAlgn val="ctr"/>
        <c:lblOffset val="100"/>
        <c:noMultiLvlLbl val="0"/>
      </c:catAx>
      <c:valAx>
        <c:axId val="162568728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568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nnual ComEd CO2 Reduc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1"/>
                <c:pt idx="0">
                  <c:v>24 TWH RE       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_(* #,##0_);_(* \(#,##0\);_(* &quot;-&quot;??_);_(@_)">
                  <c:v>9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F5-4407-ACAC-D36BC040ACF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1"/>
                <c:pt idx="0">
                  <c:v>24 TWH RE       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1-E6F5-4407-ACAC-D36BC040ACF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0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6F5-4407-ACAC-D36BC040AC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1"/>
                <c:pt idx="0">
                  <c:v>24 TWH RE       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 formatCode="_(* #,##0_);_(* \(#,##0\);_(* &quot;-&quot;??_);_(@_)">
                  <c:v>9.1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6F5-4407-ACAC-D36BC040AC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12199616"/>
        <c:axId val="512200792"/>
      </c:barChart>
      <c:catAx>
        <c:axId val="512199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2200792"/>
        <c:crosses val="autoZero"/>
        <c:auto val="1"/>
        <c:lblAlgn val="ctr"/>
        <c:lblOffset val="100"/>
        <c:noMultiLvlLbl val="0"/>
      </c:catAx>
      <c:valAx>
        <c:axId val="512200792"/>
        <c:scaling>
          <c:orientation val="minMax"/>
          <c:max val="1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MmtCO2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2199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nnual ComEd CO2 Reduc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1"/>
                <c:pt idx="0">
                  <c:v>24 TWH RE       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_(* #,##0_);_(* \(#,##0\);_(* &quot;-&quot;??_);_(@_)">
                  <c:v>8.18501000000000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F5-4407-ACAC-D36BC040ACF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1"/>
                <c:pt idx="0">
                  <c:v>24 TWH RE       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 formatCode="_(* #,##0_);_(* \(#,##0\);_(* &quot;-&quot;??_);_(@_)">
                  <c:v>7.8076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F5-4407-ACAC-D36BC040ACF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dLbl>
              <c:idx val="0"/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6F5-4407-ACAC-D36BC040AC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1"/>
                <c:pt idx="0">
                  <c:v>24 TWH RE       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 formatCode="_(* #,##0_);_(* \(#,##0\);_(* &quot;-&quot;??_);_(@_)">
                  <c:v>15.99271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6F5-4407-ACAC-D36BC040AC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12204712"/>
        <c:axId val="512200008"/>
      </c:barChart>
      <c:catAx>
        <c:axId val="512204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2200008"/>
        <c:crosses val="autoZero"/>
        <c:auto val="1"/>
        <c:lblAlgn val="ctr"/>
        <c:lblOffset val="100"/>
        <c:noMultiLvlLbl val="0"/>
      </c:catAx>
      <c:valAx>
        <c:axId val="512200008"/>
        <c:scaling>
          <c:orientation val="minMax"/>
          <c:max val="1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MMmtCO2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22047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>
          <a:solidFill>
            <a:schemeClr val="tx2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7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/>
              <a:t>IL CO2 </a:t>
            </a:r>
            <a:r>
              <a:rPr lang="en-US" sz="1800" baseline="0" dirty="0"/>
              <a:t>(All Sectors) (</a:t>
            </a:r>
            <a:r>
              <a:rPr lang="en-US" sz="1800" baseline="0" dirty="0" err="1"/>
              <a:t>MMmt</a:t>
            </a:r>
            <a:r>
              <a:rPr lang="en-US" sz="1800" baseline="0" dirty="0"/>
              <a:t>)</a:t>
            </a:r>
            <a:endParaRPr lang="en-US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7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A$6</c:f>
              <c:numCache>
                <c:formatCode>General</c:formatCod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5</c:v>
                </c:pt>
              </c:numCache>
            </c:numRef>
          </c:xVal>
          <c:yVal>
            <c:numRef>
              <c:f>Sheet1!$B$2:$B$6</c:f>
              <c:numCache>
                <c:formatCode>General</c:formatCode>
                <c:ptCount val="5"/>
                <c:pt idx="0">
                  <c:v>242.5</c:v>
                </c:pt>
                <c:pt idx="1">
                  <c:v>230.8</c:v>
                </c:pt>
                <c:pt idx="2">
                  <c:v>215.9</c:v>
                </c:pt>
                <c:pt idx="3">
                  <c:v>19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AF9-4103-B441-0103CDABB1E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1"/>
                </a:solidFill>
                <a:prstDash val="dash"/>
              </a:ln>
              <a:effectLst/>
            </c:spPr>
          </c:marker>
          <c:dPt>
            <c:idx val="3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  <a:prstDash val="dash"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AF9-4103-B441-0103CDABB1E4}"/>
              </c:ext>
            </c:extLst>
          </c:dPt>
          <c:dPt>
            <c:idx val="4"/>
            <c:marker>
              <c:symbol val="circle"/>
              <c:size val="12"/>
              <c:spPr>
                <a:solidFill>
                  <a:srgbClr val="00B050"/>
                </a:solidFill>
                <a:ln w="9525">
                  <a:solidFill>
                    <a:schemeClr val="accent1"/>
                  </a:solidFill>
                  <a:prstDash val="dash"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8AF9-4103-B441-0103CDABB1E4}"/>
              </c:ext>
            </c:extLst>
          </c:dPt>
          <c:xVal>
            <c:numRef>
              <c:f>Sheet1!$A$2:$A$6</c:f>
              <c:numCache>
                <c:formatCode>General</c:formatCod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5</c:v>
                </c:pt>
              </c:numCache>
            </c:numRef>
          </c:xVal>
          <c:yVal>
            <c:numRef>
              <c:f>Sheet1!$C$2:$C$6</c:f>
              <c:numCache>
                <c:formatCode>General</c:formatCode>
                <c:ptCount val="5"/>
                <c:pt idx="3">
                  <c:v>190</c:v>
                </c:pt>
                <c:pt idx="4">
                  <c:v>18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8AF9-4103-B441-0103CDABB1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2561672"/>
        <c:axId val="162562456"/>
      </c:scatterChart>
      <c:valAx>
        <c:axId val="162561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562456"/>
        <c:crosses val="autoZero"/>
        <c:crossBetween val="midCat"/>
      </c:valAx>
      <c:valAx>
        <c:axId val="162562456"/>
        <c:scaling>
          <c:orientation val="minMax"/>
          <c:max val="250"/>
          <c:min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256167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7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/>
              <a:t>IL CO</a:t>
            </a:r>
            <a:r>
              <a:rPr lang="en-US" sz="1800" baseline="-25000" dirty="0"/>
              <a:t>2</a:t>
            </a:r>
            <a:r>
              <a:rPr lang="en-US" sz="1800" dirty="0"/>
              <a:t> </a:t>
            </a:r>
            <a:r>
              <a:rPr lang="en-US" sz="1800" baseline="0" dirty="0"/>
              <a:t>(All Sectors) (</a:t>
            </a:r>
            <a:r>
              <a:rPr lang="en-US" sz="1800" baseline="0" dirty="0" err="1"/>
              <a:t>MMmt</a:t>
            </a:r>
            <a:r>
              <a:rPr lang="en-US" sz="1800" baseline="0" dirty="0"/>
              <a:t>)</a:t>
            </a:r>
            <a:endParaRPr lang="en-US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7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Sheet1!$A$2:$A$7</c:f>
              <c:numCache>
                <c:formatCode>General</c:formatCode>
                <c:ptCount val="6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2</c:v>
                </c:pt>
                <c:pt idx="5">
                  <c:v>2025</c:v>
                </c:pt>
              </c:numCache>
            </c:numRef>
          </c:xVal>
          <c:yVal>
            <c:numRef>
              <c:f>Sheet1!$B$2:$B$7</c:f>
              <c:numCache>
                <c:formatCode>General</c:formatCode>
                <c:ptCount val="6"/>
                <c:pt idx="0">
                  <c:v>242.5</c:v>
                </c:pt>
                <c:pt idx="1">
                  <c:v>230.8</c:v>
                </c:pt>
                <c:pt idx="2">
                  <c:v>215.9</c:v>
                </c:pt>
                <c:pt idx="3">
                  <c:v>190</c:v>
                </c:pt>
                <c:pt idx="4">
                  <c:v>23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BB1-470A-A3D7-1ED87606259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1"/>
                </a:solidFill>
                <a:prstDash val="dash"/>
              </a:ln>
              <a:effectLst/>
            </c:spPr>
          </c:marker>
          <c:dPt>
            <c:idx val="3"/>
            <c:marker>
              <c:symbol val="circle"/>
              <c:size val="5"/>
              <c:spPr>
                <a:solidFill>
                  <a:schemeClr val="accent1"/>
                </a:solidFill>
                <a:ln w="9525">
                  <a:solidFill>
                    <a:schemeClr val="accent1"/>
                  </a:solidFill>
                  <a:prstDash val="dash"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FBB1-470A-A3D7-1ED876062595}"/>
              </c:ext>
            </c:extLst>
          </c:dPt>
          <c:dPt>
            <c:idx val="4"/>
            <c:marker>
              <c:symbol val="circle"/>
              <c:size val="12"/>
              <c:spPr>
                <a:solidFill>
                  <a:srgbClr val="FFE400"/>
                </a:solidFill>
                <a:ln w="9525">
                  <a:solidFill>
                    <a:schemeClr val="accent2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FBB1-470A-A3D7-1ED876062595}"/>
              </c:ext>
            </c:extLst>
          </c:dPt>
          <c:dPt>
            <c:idx val="5"/>
            <c:marker>
              <c:symbol val="circle"/>
              <c:size val="12"/>
              <c:spPr>
                <a:solidFill>
                  <a:srgbClr val="00B050"/>
                </a:solidFill>
                <a:ln w="9525">
                  <a:solidFill>
                    <a:schemeClr val="accent1"/>
                  </a:solidFill>
                  <a:prstDash val="dash"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FBB1-470A-A3D7-1ED876062595}"/>
              </c:ext>
            </c:extLst>
          </c:dPt>
          <c:xVal>
            <c:numRef>
              <c:f>Sheet1!$A$2:$A$7</c:f>
              <c:numCache>
                <c:formatCode>General</c:formatCode>
                <c:ptCount val="6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2</c:v>
                </c:pt>
                <c:pt idx="5">
                  <c:v>2025</c:v>
                </c:pt>
              </c:numCache>
            </c:numRef>
          </c:xVal>
          <c:yVal>
            <c:numRef>
              <c:f>Sheet1!$C$2:$C$7</c:f>
              <c:numCache>
                <c:formatCode>General</c:formatCode>
                <c:ptCount val="6"/>
                <c:pt idx="4">
                  <c:v>230</c:v>
                </c:pt>
                <c:pt idx="5">
                  <c:v>18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FBB1-470A-A3D7-1ED8760625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3390912"/>
        <c:axId val="163391304"/>
      </c:scatterChart>
      <c:valAx>
        <c:axId val="163390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391304"/>
        <c:crosses val="autoZero"/>
        <c:crossBetween val="midCat"/>
      </c:valAx>
      <c:valAx>
        <c:axId val="163391304"/>
        <c:scaling>
          <c:orientation val="minMax"/>
          <c:max val="250"/>
          <c:min val="1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39091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300" b="0" i="0" baseline="0" dirty="0">
                <a:effectLst/>
              </a:rPr>
              <a:t>ComEd Zone Hourly MW for July Week  </a:t>
            </a:r>
            <a:endParaRPr lang="en-US" sz="1300" dirty="0">
              <a:effectLst/>
            </a:endParaRPr>
          </a:p>
          <a:p>
            <a:pPr>
              <a:defRPr/>
            </a:pPr>
            <a:r>
              <a:rPr lang="en-US" sz="1300" b="0" i="0" baseline="0" dirty="0">
                <a:effectLst/>
              </a:rPr>
              <a:t>75% Zero-Emission Load</a:t>
            </a:r>
            <a:endParaRPr lang="en-US" sz="1300" dirty="0">
              <a:effectLst/>
            </a:endParaRPr>
          </a:p>
        </c:rich>
      </c:tx>
      <c:layout>
        <c:manualLayout>
          <c:xMode val="edge"/>
          <c:yMode val="edge"/>
          <c:x val="0.17589275456858727"/>
          <c:y val="1.11045435945145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B$2:$B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0-686E-4708-BCDB-6961C0B70A8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88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1-686E-4708-BCDB-6961C0B70A8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686E-4708-BCDB-6961C0B70A8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686E-4708-BCDB-6961C0B70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80986848"/>
        <c:axId val="480972736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Load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F$2:$F$169</c:f>
              <c:numCache>
                <c:formatCode>#,##0</c:formatCode>
                <c:ptCount val="168"/>
                <c:pt idx="0">
                  <c:v>15466</c:v>
                </c:pt>
                <c:pt idx="1">
                  <c:v>14452</c:v>
                </c:pt>
                <c:pt idx="2">
                  <c:v>13586</c:v>
                </c:pt>
                <c:pt idx="3">
                  <c:v>12906</c:v>
                </c:pt>
                <c:pt idx="4">
                  <c:v>12416</c:v>
                </c:pt>
                <c:pt idx="5">
                  <c:v>12100</c:v>
                </c:pt>
                <c:pt idx="6">
                  <c:v>11849</c:v>
                </c:pt>
                <c:pt idx="7">
                  <c:v>11960</c:v>
                </c:pt>
                <c:pt idx="8">
                  <c:v>12831</c:v>
                </c:pt>
                <c:pt idx="9">
                  <c:v>14181</c:v>
                </c:pt>
                <c:pt idx="10">
                  <c:v>15384</c:v>
                </c:pt>
                <c:pt idx="11">
                  <c:v>16494</c:v>
                </c:pt>
                <c:pt idx="12">
                  <c:v>17475</c:v>
                </c:pt>
                <c:pt idx="13">
                  <c:v>18150</c:v>
                </c:pt>
                <c:pt idx="14">
                  <c:v>18634</c:v>
                </c:pt>
                <c:pt idx="15">
                  <c:v>18932</c:v>
                </c:pt>
                <c:pt idx="16">
                  <c:v>18910</c:v>
                </c:pt>
                <c:pt idx="17">
                  <c:v>18056</c:v>
                </c:pt>
                <c:pt idx="18">
                  <c:v>16710</c:v>
                </c:pt>
                <c:pt idx="19">
                  <c:v>15828</c:v>
                </c:pt>
                <c:pt idx="20">
                  <c:v>15320</c:v>
                </c:pt>
                <c:pt idx="21">
                  <c:v>14969</c:v>
                </c:pt>
                <c:pt idx="22">
                  <c:v>14812</c:v>
                </c:pt>
                <c:pt idx="23">
                  <c:v>14068</c:v>
                </c:pt>
                <c:pt idx="24">
                  <c:v>13134</c:v>
                </c:pt>
                <c:pt idx="25">
                  <c:v>12278</c:v>
                </c:pt>
                <c:pt idx="26">
                  <c:v>11616</c:v>
                </c:pt>
                <c:pt idx="27">
                  <c:v>11131</c:v>
                </c:pt>
                <c:pt idx="28">
                  <c:v>10787</c:v>
                </c:pt>
                <c:pt idx="29">
                  <c:v>10806</c:v>
                </c:pt>
                <c:pt idx="30">
                  <c:v>11065</c:v>
                </c:pt>
                <c:pt idx="31">
                  <c:v>11846</c:v>
                </c:pt>
                <c:pt idx="32">
                  <c:v>13042</c:v>
                </c:pt>
                <c:pt idx="33">
                  <c:v>13947</c:v>
                </c:pt>
                <c:pt idx="34">
                  <c:v>14665</c:v>
                </c:pt>
                <c:pt idx="35">
                  <c:v>15322</c:v>
                </c:pt>
                <c:pt idx="36">
                  <c:v>15786</c:v>
                </c:pt>
                <c:pt idx="37">
                  <c:v>16229</c:v>
                </c:pt>
                <c:pt idx="38">
                  <c:v>16689</c:v>
                </c:pt>
                <c:pt idx="39">
                  <c:v>17072</c:v>
                </c:pt>
                <c:pt idx="40">
                  <c:v>17356</c:v>
                </c:pt>
                <c:pt idx="41">
                  <c:v>17486</c:v>
                </c:pt>
                <c:pt idx="42">
                  <c:v>17413</c:v>
                </c:pt>
                <c:pt idx="43">
                  <c:v>16872</c:v>
                </c:pt>
                <c:pt idx="44">
                  <c:v>15962</c:v>
                </c:pt>
                <c:pt idx="45">
                  <c:v>14964</c:v>
                </c:pt>
                <c:pt idx="46">
                  <c:v>14266</c:v>
                </c:pt>
                <c:pt idx="47">
                  <c:v>13017</c:v>
                </c:pt>
                <c:pt idx="48">
                  <c:v>11743</c:v>
                </c:pt>
                <c:pt idx="49">
                  <c:v>10727</c:v>
                </c:pt>
                <c:pt idx="50">
                  <c:v>10103</c:v>
                </c:pt>
                <c:pt idx="51">
                  <c:v>9653</c:v>
                </c:pt>
                <c:pt idx="52">
                  <c:v>9461</c:v>
                </c:pt>
                <c:pt idx="53">
                  <c:v>9557</c:v>
                </c:pt>
                <c:pt idx="54">
                  <c:v>9977</c:v>
                </c:pt>
                <c:pt idx="55">
                  <c:v>10947</c:v>
                </c:pt>
                <c:pt idx="56">
                  <c:v>12122</c:v>
                </c:pt>
                <c:pt idx="57">
                  <c:v>13286</c:v>
                </c:pt>
                <c:pt idx="58">
                  <c:v>14392</c:v>
                </c:pt>
                <c:pt idx="59">
                  <c:v>15475</c:v>
                </c:pt>
                <c:pt idx="60">
                  <c:v>16418</c:v>
                </c:pt>
                <c:pt idx="61">
                  <c:v>17310</c:v>
                </c:pt>
                <c:pt idx="62">
                  <c:v>18058</c:v>
                </c:pt>
                <c:pt idx="63">
                  <c:v>18493</c:v>
                </c:pt>
                <c:pt idx="64">
                  <c:v>18765</c:v>
                </c:pt>
                <c:pt idx="65">
                  <c:v>19005</c:v>
                </c:pt>
                <c:pt idx="66">
                  <c:v>18939</c:v>
                </c:pt>
                <c:pt idx="67">
                  <c:v>18329</c:v>
                </c:pt>
                <c:pt idx="68">
                  <c:v>17483</c:v>
                </c:pt>
                <c:pt idx="69">
                  <c:v>16798</c:v>
                </c:pt>
                <c:pt idx="70">
                  <c:v>16263</c:v>
                </c:pt>
                <c:pt idx="71">
                  <c:v>15221</c:v>
                </c:pt>
                <c:pt idx="72">
                  <c:v>14124</c:v>
                </c:pt>
                <c:pt idx="73">
                  <c:v>13088</c:v>
                </c:pt>
                <c:pt idx="74">
                  <c:v>12394</c:v>
                </c:pt>
                <c:pt idx="75">
                  <c:v>11815</c:v>
                </c:pt>
                <c:pt idx="76">
                  <c:v>11435</c:v>
                </c:pt>
                <c:pt idx="77">
                  <c:v>11185</c:v>
                </c:pt>
                <c:pt idx="78">
                  <c:v>11026</c:v>
                </c:pt>
                <c:pt idx="79">
                  <c:v>11339</c:v>
                </c:pt>
                <c:pt idx="80">
                  <c:v>12267</c:v>
                </c:pt>
                <c:pt idx="81">
                  <c:v>13470</c:v>
                </c:pt>
                <c:pt idx="82">
                  <c:v>14834</c:v>
                </c:pt>
                <c:pt idx="83">
                  <c:v>16089</c:v>
                </c:pt>
                <c:pt idx="84">
                  <c:v>16914</c:v>
                </c:pt>
                <c:pt idx="85">
                  <c:v>17377</c:v>
                </c:pt>
                <c:pt idx="86">
                  <c:v>17818</c:v>
                </c:pt>
                <c:pt idx="87">
                  <c:v>17984</c:v>
                </c:pt>
                <c:pt idx="88">
                  <c:v>18022</c:v>
                </c:pt>
                <c:pt idx="89">
                  <c:v>17834</c:v>
                </c:pt>
                <c:pt idx="90">
                  <c:v>17700</c:v>
                </c:pt>
                <c:pt idx="91">
                  <c:v>17134</c:v>
                </c:pt>
                <c:pt idx="92">
                  <c:v>16366</c:v>
                </c:pt>
                <c:pt idx="93">
                  <c:v>15949</c:v>
                </c:pt>
                <c:pt idx="94">
                  <c:v>15347</c:v>
                </c:pt>
                <c:pt idx="95">
                  <c:v>14424</c:v>
                </c:pt>
                <c:pt idx="96">
                  <c:v>13453</c:v>
                </c:pt>
                <c:pt idx="97">
                  <c:v>12563</c:v>
                </c:pt>
                <c:pt idx="98">
                  <c:v>11827</c:v>
                </c:pt>
                <c:pt idx="99">
                  <c:v>11304</c:v>
                </c:pt>
                <c:pt idx="100">
                  <c:v>11086</c:v>
                </c:pt>
                <c:pt idx="101">
                  <c:v>11141</c:v>
                </c:pt>
                <c:pt idx="102">
                  <c:v>11533</c:v>
                </c:pt>
                <c:pt idx="103">
                  <c:v>12568</c:v>
                </c:pt>
                <c:pt idx="104">
                  <c:v>14001</c:v>
                </c:pt>
                <c:pt idx="105">
                  <c:v>15430</c:v>
                </c:pt>
                <c:pt idx="106">
                  <c:v>16806</c:v>
                </c:pt>
                <c:pt idx="107">
                  <c:v>18005</c:v>
                </c:pt>
                <c:pt idx="108">
                  <c:v>18952</c:v>
                </c:pt>
                <c:pt idx="109">
                  <c:v>19537</c:v>
                </c:pt>
                <c:pt idx="110">
                  <c:v>19495</c:v>
                </c:pt>
                <c:pt idx="111">
                  <c:v>18233</c:v>
                </c:pt>
                <c:pt idx="112">
                  <c:v>17396</c:v>
                </c:pt>
                <c:pt idx="113">
                  <c:v>17073</c:v>
                </c:pt>
                <c:pt idx="114">
                  <c:v>16817</c:v>
                </c:pt>
                <c:pt idx="115">
                  <c:v>16380</c:v>
                </c:pt>
                <c:pt idx="116">
                  <c:v>16111</c:v>
                </c:pt>
                <c:pt idx="117">
                  <c:v>15687</c:v>
                </c:pt>
                <c:pt idx="118">
                  <c:v>15356</c:v>
                </c:pt>
                <c:pt idx="119">
                  <c:v>14335</c:v>
                </c:pt>
                <c:pt idx="120">
                  <c:v>13178</c:v>
                </c:pt>
                <c:pt idx="121">
                  <c:v>12136</c:v>
                </c:pt>
                <c:pt idx="122">
                  <c:v>11304</c:v>
                </c:pt>
                <c:pt idx="123">
                  <c:v>10677</c:v>
                </c:pt>
                <c:pt idx="124">
                  <c:v>10317</c:v>
                </c:pt>
                <c:pt idx="125">
                  <c:v>10275</c:v>
                </c:pt>
                <c:pt idx="126">
                  <c:v>10455</c:v>
                </c:pt>
                <c:pt idx="127">
                  <c:v>11248</c:v>
                </c:pt>
                <c:pt idx="128">
                  <c:v>12290</c:v>
                </c:pt>
                <c:pt idx="129">
                  <c:v>13029</c:v>
                </c:pt>
                <c:pt idx="130">
                  <c:v>13513</c:v>
                </c:pt>
                <c:pt idx="131">
                  <c:v>13875</c:v>
                </c:pt>
                <c:pt idx="132">
                  <c:v>13973</c:v>
                </c:pt>
                <c:pt idx="133">
                  <c:v>14025</c:v>
                </c:pt>
                <c:pt idx="134">
                  <c:v>14201</c:v>
                </c:pt>
                <c:pt idx="135">
                  <c:v>14286</c:v>
                </c:pt>
                <c:pt idx="136">
                  <c:v>14381</c:v>
                </c:pt>
                <c:pt idx="137">
                  <c:v>14375</c:v>
                </c:pt>
                <c:pt idx="138">
                  <c:v>14183</c:v>
                </c:pt>
                <c:pt idx="139">
                  <c:v>13591</c:v>
                </c:pt>
                <c:pt idx="140">
                  <c:v>12901</c:v>
                </c:pt>
                <c:pt idx="141">
                  <c:v>12191</c:v>
                </c:pt>
                <c:pt idx="142">
                  <c:v>11826</c:v>
                </c:pt>
                <c:pt idx="143">
                  <c:v>11082</c:v>
                </c:pt>
                <c:pt idx="144">
                  <c:v>10248</c:v>
                </c:pt>
                <c:pt idx="145">
                  <c:v>9600</c:v>
                </c:pt>
                <c:pt idx="146">
                  <c:v>9145</c:v>
                </c:pt>
                <c:pt idx="147">
                  <c:v>8806</c:v>
                </c:pt>
                <c:pt idx="148">
                  <c:v>8626</c:v>
                </c:pt>
                <c:pt idx="149">
                  <c:v>8599</c:v>
                </c:pt>
                <c:pt idx="150">
                  <c:v>8517</c:v>
                </c:pt>
                <c:pt idx="151">
                  <c:v>8858</c:v>
                </c:pt>
                <c:pt idx="152">
                  <c:v>9497</c:v>
                </c:pt>
                <c:pt idx="153">
                  <c:v>10171</c:v>
                </c:pt>
                <c:pt idx="154">
                  <c:v>10731</c:v>
                </c:pt>
                <c:pt idx="155">
                  <c:v>11283</c:v>
                </c:pt>
                <c:pt idx="156">
                  <c:v>11669</c:v>
                </c:pt>
                <c:pt idx="157">
                  <c:v>12011</c:v>
                </c:pt>
                <c:pt idx="158">
                  <c:v>12201</c:v>
                </c:pt>
                <c:pt idx="159">
                  <c:v>12601</c:v>
                </c:pt>
                <c:pt idx="160">
                  <c:v>12934</c:v>
                </c:pt>
                <c:pt idx="161">
                  <c:v>13278</c:v>
                </c:pt>
                <c:pt idx="162">
                  <c:v>13302</c:v>
                </c:pt>
                <c:pt idx="163">
                  <c:v>13043</c:v>
                </c:pt>
                <c:pt idx="164">
                  <c:v>12489</c:v>
                </c:pt>
                <c:pt idx="165">
                  <c:v>11924</c:v>
                </c:pt>
                <c:pt idx="166">
                  <c:v>11603</c:v>
                </c:pt>
                <c:pt idx="167">
                  <c:v>109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86E-4708-BCDB-6961C0B70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0986848"/>
        <c:axId val="480972736"/>
      </c:lineChart>
      <c:catAx>
        <c:axId val="48098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0972736"/>
        <c:crosses val="autoZero"/>
        <c:auto val="1"/>
        <c:lblAlgn val="ctr"/>
        <c:lblOffset val="100"/>
        <c:noMultiLvlLbl val="0"/>
      </c:catAx>
      <c:valAx>
        <c:axId val="480972736"/>
        <c:scaling>
          <c:orientation val="minMax"/>
          <c:max val="2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0986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300" b="0" i="0" baseline="0" dirty="0">
                <a:effectLst/>
              </a:rPr>
              <a:t>ComEd Zone Hourly MW for July Week  </a:t>
            </a:r>
            <a:endParaRPr lang="en-US" sz="1300" dirty="0">
              <a:effectLst/>
            </a:endParaRPr>
          </a:p>
          <a:p>
            <a:pPr>
              <a:defRPr/>
            </a:pPr>
            <a:r>
              <a:rPr lang="en-US" sz="1300" b="0" i="0" baseline="0" dirty="0">
                <a:effectLst/>
              </a:rPr>
              <a:t>75% Zero-Emission Load</a:t>
            </a:r>
            <a:endParaRPr lang="en-US" sz="1300" dirty="0">
              <a:effectLst/>
            </a:endParaRPr>
          </a:p>
        </c:rich>
      </c:tx>
      <c:layout>
        <c:manualLayout>
          <c:xMode val="edge"/>
          <c:yMode val="edge"/>
          <c:x val="0.17589275456858727"/>
          <c:y val="1.11045435945145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B$2:$B$169</c:f>
              <c:numCache>
                <c:formatCode>#,##0</c:formatCode>
                <c:ptCount val="168"/>
                <c:pt idx="0">
                  <c:v>10052</c:v>
                </c:pt>
                <c:pt idx="1">
                  <c:v>10048</c:v>
                </c:pt>
                <c:pt idx="2">
                  <c:v>10065</c:v>
                </c:pt>
                <c:pt idx="3">
                  <c:v>10064</c:v>
                </c:pt>
                <c:pt idx="4">
                  <c:v>10067</c:v>
                </c:pt>
                <c:pt idx="5">
                  <c:v>10073</c:v>
                </c:pt>
                <c:pt idx="6">
                  <c:v>10066</c:v>
                </c:pt>
                <c:pt idx="7">
                  <c:v>10065</c:v>
                </c:pt>
                <c:pt idx="8">
                  <c:v>10064</c:v>
                </c:pt>
                <c:pt idx="9">
                  <c:v>10065</c:v>
                </c:pt>
                <c:pt idx="10">
                  <c:v>10061</c:v>
                </c:pt>
                <c:pt idx="11">
                  <c:v>10054</c:v>
                </c:pt>
                <c:pt idx="12">
                  <c:v>10043</c:v>
                </c:pt>
                <c:pt idx="13">
                  <c:v>10040</c:v>
                </c:pt>
                <c:pt idx="14">
                  <c:v>10037</c:v>
                </c:pt>
                <c:pt idx="15">
                  <c:v>10049</c:v>
                </c:pt>
                <c:pt idx="16">
                  <c:v>10046</c:v>
                </c:pt>
                <c:pt idx="17">
                  <c:v>10056</c:v>
                </c:pt>
                <c:pt idx="18">
                  <c:v>10048</c:v>
                </c:pt>
                <c:pt idx="19">
                  <c:v>10060</c:v>
                </c:pt>
                <c:pt idx="20">
                  <c:v>10068</c:v>
                </c:pt>
                <c:pt idx="21">
                  <c:v>10073</c:v>
                </c:pt>
                <c:pt idx="22">
                  <c:v>10080</c:v>
                </c:pt>
                <c:pt idx="23">
                  <c:v>10081</c:v>
                </c:pt>
                <c:pt idx="24">
                  <c:v>10086</c:v>
                </c:pt>
                <c:pt idx="25">
                  <c:v>10091</c:v>
                </c:pt>
                <c:pt idx="26">
                  <c:v>10102</c:v>
                </c:pt>
                <c:pt idx="27">
                  <c:v>10105</c:v>
                </c:pt>
                <c:pt idx="28">
                  <c:v>10111</c:v>
                </c:pt>
                <c:pt idx="29">
                  <c:v>10105</c:v>
                </c:pt>
                <c:pt idx="30">
                  <c:v>10112</c:v>
                </c:pt>
                <c:pt idx="31">
                  <c:v>10121</c:v>
                </c:pt>
                <c:pt idx="32">
                  <c:v>10113</c:v>
                </c:pt>
                <c:pt idx="33">
                  <c:v>10117</c:v>
                </c:pt>
                <c:pt idx="34">
                  <c:v>10106</c:v>
                </c:pt>
                <c:pt idx="35">
                  <c:v>10105</c:v>
                </c:pt>
                <c:pt idx="36">
                  <c:v>10095</c:v>
                </c:pt>
                <c:pt idx="37">
                  <c:v>10081</c:v>
                </c:pt>
                <c:pt idx="38">
                  <c:v>10078</c:v>
                </c:pt>
                <c:pt idx="39">
                  <c:v>10071</c:v>
                </c:pt>
                <c:pt idx="40">
                  <c:v>10062</c:v>
                </c:pt>
                <c:pt idx="41">
                  <c:v>10061</c:v>
                </c:pt>
                <c:pt idx="42">
                  <c:v>10051</c:v>
                </c:pt>
                <c:pt idx="43">
                  <c:v>10049</c:v>
                </c:pt>
                <c:pt idx="44">
                  <c:v>10048</c:v>
                </c:pt>
                <c:pt idx="45">
                  <c:v>10050</c:v>
                </c:pt>
                <c:pt idx="46">
                  <c:v>10050</c:v>
                </c:pt>
                <c:pt idx="47">
                  <c:v>10052</c:v>
                </c:pt>
                <c:pt idx="48">
                  <c:v>10026</c:v>
                </c:pt>
                <c:pt idx="49">
                  <c:v>10036</c:v>
                </c:pt>
                <c:pt idx="50">
                  <c:v>10040</c:v>
                </c:pt>
                <c:pt idx="51">
                  <c:v>10047</c:v>
                </c:pt>
                <c:pt idx="52">
                  <c:v>10048</c:v>
                </c:pt>
                <c:pt idx="53">
                  <c:v>10069</c:v>
                </c:pt>
                <c:pt idx="54">
                  <c:v>10087</c:v>
                </c:pt>
                <c:pt idx="55">
                  <c:v>10082</c:v>
                </c:pt>
                <c:pt idx="56">
                  <c:v>10081</c:v>
                </c:pt>
                <c:pt idx="57">
                  <c:v>10071</c:v>
                </c:pt>
                <c:pt idx="58">
                  <c:v>10059</c:v>
                </c:pt>
                <c:pt idx="59">
                  <c:v>10052</c:v>
                </c:pt>
                <c:pt idx="60">
                  <c:v>10049</c:v>
                </c:pt>
                <c:pt idx="61">
                  <c:v>10044</c:v>
                </c:pt>
                <c:pt idx="62">
                  <c:v>10040</c:v>
                </c:pt>
                <c:pt idx="63">
                  <c:v>10024</c:v>
                </c:pt>
                <c:pt idx="64">
                  <c:v>10022</c:v>
                </c:pt>
                <c:pt idx="65">
                  <c:v>10015</c:v>
                </c:pt>
                <c:pt idx="66">
                  <c:v>10010</c:v>
                </c:pt>
                <c:pt idx="67">
                  <c:v>10016</c:v>
                </c:pt>
                <c:pt idx="68">
                  <c:v>10013</c:v>
                </c:pt>
                <c:pt idx="69">
                  <c:v>10017</c:v>
                </c:pt>
                <c:pt idx="70">
                  <c:v>10022</c:v>
                </c:pt>
                <c:pt idx="71">
                  <c:v>10019</c:v>
                </c:pt>
                <c:pt idx="72">
                  <c:v>10020</c:v>
                </c:pt>
                <c:pt idx="73">
                  <c:v>10026</c:v>
                </c:pt>
                <c:pt idx="74">
                  <c:v>10031</c:v>
                </c:pt>
                <c:pt idx="75">
                  <c:v>10029</c:v>
                </c:pt>
                <c:pt idx="76">
                  <c:v>10027</c:v>
                </c:pt>
                <c:pt idx="77">
                  <c:v>10027</c:v>
                </c:pt>
                <c:pt idx="78">
                  <c:v>10026</c:v>
                </c:pt>
                <c:pt idx="79">
                  <c:v>10023</c:v>
                </c:pt>
                <c:pt idx="80">
                  <c:v>10015</c:v>
                </c:pt>
                <c:pt idx="81">
                  <c:v>10015</c:v>
                </c:pt>
                <c:pt idx="82">
                  <c:v>10010</c:v>
                </c:pt>
                <c:pt idx="83">
                  <c:v>10011</c:v>
                </c:pt>
                <c:pt idx="84">
                  <c:v>9998</c:v>
                </c:pt>
                <c:pt idx="85">
                  <c:v>10004</c:v>
                </c:pt>
                <c:pt idx="86">
                  <c:v>10001</c:v>
                </c:pt>
                <c:pt idx="87">
                  <c:v>10002</c:v>
                </c:pt>
                <c:pt idx="88">
                  <c:v>9991</c:v>
                </c:pt>
                <c:pt idx="89">
                  <c:v>9987</c:v>
                </c:pt>
                <c:pt idx="90">
                  <c:v>10000</c:v>
                </c:pt>
                <c:pt idx="91">
                  <c:v>10000</c:v>
                </c:pt>
                <c:pt idx="92">
                  <c:v>10010</c:v>
                </c:pt>
                <c:pt idx="93">
                  <c:v>10016</c:v>
                </c:pt>
                <c:pt idx="94">
                  <c:v>10023</c:v>
                </c:pt>
                <c:pt idx="95">
                  <c:v>10028</c:v>
                </c:pt>
                <c:pt idx="96">
                  <c:v>10031</c:v>
                </c:pt>
                <c:pt idx="97">
                  <c:v>10032</c:v>
                </c:pt>
                <c:pt idx="98">
                  <c:v>10031</c:v>
                </c:pt>
                <c:pt idx="99">
                  <c:v>10040</c:v>
                </c:pt>
                <c:pt idx="100">
                  <c:v>10024</c:v>
                </c:pt>
                <c:pt idx="101">
                  <c:v>10034</c:v>
                </c:pt>
                <c:pt idx="102">
                  <c:v>10032</c:v>
                </c:pt>
                <c:pt idx="103">
                  <c:v>10031</c:v>
                </c:pt>
                <c:pt idx="104">
                  <c:v>10028</c:v>
                </c:pt>
                <c:pt idx="105">
                  <c:v>10020</c:v>
                </c:pt>
                <c:pt idx="106">
                  <c:v>10012</c:v>
                </c:pt>
                <c:pt idx="107">
                  <c:v>10010</c:v>
                </c:pt>
                <c:pt idx="108">
                  <c:v>10006</c:v>
                </c:pt>
                <c:pt idx="109">
                  <c:v>10000</c:v>
                </c:pt>
                <c:pt idx="110">
                  <c:v>9991</c:v>
                </c:pt>
                <c:pt idx="111">
                  <c:v>9994</c:v>
                </c:pt>
                <c:pt idx="112">
                  <c:v>9997</c:v>
                </c:pt>
                <c:pt idx="113">
                  <c:v>9999</c:v>
                </c:pt>
                <c:pt idx="114">
                  <c:v>10003</c:v>
                </c:pt>
                <c:pt idx="115">
                  <c:v>10002</c:v>
                </c:pt>
                <c:pt idx="116">
                  <c:v>10000</c:v>
                </c:pt>
                <c:pt idx="117">
                  <c:v>10006</c:v>
                </c:pt>
                <c:pt idx="118">
                  <c:v>10024</c:v>
                </c:pt>
                <c:pt idx="119">
                  <c:v>10028</c:v>
                </c:pt>
                <c:pt idx="120">
                  <c:v>10035</c:v>
                </c:pt>
                <c:pt idx="121">
                  <c:v>10035</c:v>
                </c:pt>
                <c:pt idx="122">
                  <c:v>10052</c:v>
                </c:pt>
                <c:pt idx="123">
                  <c:v>9979</c:v>
                </c:pt>
                <c:pt idx="124">
                  <c:v>10015</c:v>
                </c:pt>
                <c:pt idx="125">
                  <c:v>10068</c:v>
                </c:pt>
                <c:pt idx="126">
                  <c:v>10074</c:v>
                </c:pt>
                <c:pt idx="127">
                  <c:v>10083</c:v>
                </c:pt>
                <c:pt idx="128">
                  <c:v>10087</c:v>
                </c:pt>
                <c:pt idx="129">
                  <c:v>10087</c:v>
                </c:pt>
                <c:pt idx="130">
                  <c:v>10093</c:v>
                </c:pt>
                <c:pt idx="131">
                  <c:v>10083</c:v>
                </c:pt>
                <c:pt idx="132">
                  <c:v>10079</c:v>
                </c:pt>
                <c:pt idx="133">
                  <c:v>10074</c:v>
                </c:pt>
                <c:pt idx="134">
                  <c:v>10074</c:v>
                </c:pt>
                <c:pt idx="135">
                  <c:v>10079</c:v>
                </c:pt>
                <c:pt idx="136">
                  <c:v>10071</c:v>
                </c:pt>
                <c:pt idx="137">
                  <c:v>10074</c:v>
                </c:pt>
                <c:pt idx="138">
                  <c:v>10075</c:v>
                </c:pt>
                <c:pt idx="139">
                  <c:v>10077</c:v>
                </c:pt>
                <c:pt idx="140">
                  <c:v>10083</c:v>
                </c:pt>
                <c:pt idx="141">
                  <c:v>10090</c:v>
                </c:pt>
                <c:pt idx="142">
                  <c:v>10096</c:v>
                </c:pt>
                <c:pt idx="143">
                  <c:v>10101</c:v>
                </c:pt>
                <c:pt idx="144">
                  <c:v>10107</c:v>
                </c:pt>
                <c:pt idx="145">
                  <c:v>10113</c:v>
                </c:pt>
                <c:pt idx="146">
                  <c:v>10120</c:v>
                </c:pt>
                <c:pt idx="147">
                  <c:v>10123</c:v>
                </c:pt>
                <c:pt idx="148">
                  <c:v>10124</c:v>
                </c:pt>
                <c:pt idx="149">
                  <c:v>10128</c:v>
                </c:pt>
                <c:pt idx="150">
                  <c:v>10128</c:v>
                </c:pt>
                <c:pt idx="151">
                  <c:v>10133</c:v>
                </c:pt>
                <c:pt idx="152">
                  <c:v>10133</c:v>
                </c:pt>
                <c:pt idx="153">
                  <c:v>10130</c:v>
                </c:pt>
                <c:pt idx="154">
                  <c:v>10123</c:v>
                </c:pt>
                <c:pt idx="155">
                  <c:v>10117</c:v>
                </c:pt>
                <c:pt idx="156">
                  <c:v>10119</c:v>
                </c:pt>
                <c:pt idx="157">
                  <c:v>10108</c:v>
                </c:pt>
                <c:pt idx="158">
                  <c:v>10106</c:v>
                </c:pt>
                <c:pt idx="159">
                  <c:v>10102</c:v>
                </c:pt>
                <c:pt idx="160">
                  <c:v>10097</c:v>
                </c:pt>
                <c:pt idx="161">
                  <c:v>10097</c:v>
                </c:pt>
                <c:pt idx="162">
                  <c:v>10089</c:v>
                </c:pt>
                <c:pt idx="163">
                  <c:v>10089</c:v>
                </c:pt>
                <c:pt idx="164">
                  <c:v>10025</c:v>
                </c:pt>
                <c:pt idx="165">
                  <c:v>9935</c:v>
                </c:pt>
                <c:pt idx="166">
                  <c:v>9942</c:v>
                </c:pt>
                <c:pt idx="167">
                  <c:v>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6E-4708-BCDB-6961C0B70A8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88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C$2:$C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1-686E-4708-BCDB-6961C0B70A8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686E-4708-BCDB-6961C0B70A8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686E-4708-BCDB-6961C0B70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80970384"/>
        <c:axId val="465061744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Load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F$2:$F$169</c:f>
              <c:numCache>
                <c:formatCode>#,##0</c:formatCode>
                <c:ptCount val="168"/>
                <c:pt idx="0">
                  <c:v>15466</c:v>
                </c:pt>
                <c:pt idx="1">
                  <c:v>14452</c:v>
                </c:pt>
                <c:pt idx="2">
                  <c:v>13586</c:v>
                </c:pt>
                <c:pt idx="3">
                  <c:v>12906</c:v>
                </c:pt>
                <c:pt idx="4">
                  <c:v>12416</c:v>
                </c:pt>
                <c:pt idx="5">
                  <c:v>12100</c:v>
                </c:pt>
                <c:pt idx="6">
                  <c:v>11849</c:v>
                </c:pt>
                <c:pt idx="7">
                  <c:v>11960</c:v>
                </c:pt>
                <c:pt idx="8">
                  <c:v>12831</c:v>
                </c:pt>
                <c:pt idx="9">
                  <c:v>14181</c:v>
                </c:pt>
                <c:pt idx="10">
                  <c:v>15384</c:v>
                </c:pt>
                <c:pt idx="11">
                  <c:v>16494</c:v>
                </c:pt>
                <c:pt idx="12">
                  <c:v>17475</c:v>
                </c:pt>
                <c:pt idx="13">
                  <c:v>18150</c:v>
                </c:pt>
                <c:pt idx="14">
                  <c:v>18634</c:v>
                </c:pt>
                <c:pt idx="15">
                  <c:v>18932</c:v>
                </c:pt>
                <c:pt idx="16">
                  <c:v>18910</c:v>
                </c:pt>
                <c:pt idx="17">
                  <c:v>18056</c:v>
                </c:pt>
                <c:pt idx="18">
                  <c:v>16710</c:v>
                </c:pt>
                <c:pt idx="19">
                  <c:v>15828</c:v>
                </c:pt>
                <c:pt idx="20">
                  <c:v>15320</c:v>
                </c:pt>
                <c:pt idx="21">
                  <c:v>14969</c:v>
                </c:pt>
                <c:pt idx="22">
                  <c:v>14812</c:v>
                </c:pt>
                <c:pt idx="23">
                  <c:v>14068</c:v>
                </c:pt>
                <c:pt idx="24">
                  <c:v>13134</c:v>
                </c:pt>
                <c:pt idx="25">
                  <c:v>12278</c:v>
                </c:pt>
                <c:pt idx="26">
                  <c:v>11616</c:v>
                </c:pt>
                <c:pt idx="27">
                  <c:v>11131</c:v>
                </c:pt>
                <c:pt idx="28">
                  <c:v>10787</c:v>
                </c:pt>
                <c:pt idx="29">
                  <c:v>10806</c:v>
                </c:pt>
                <c:pt idx="30">
                  <c:v>11065</c:v>
                </c:pt>
                <c:pt idx="31">
                  <c:v>11846</c:v>
                </c:pt>
                <c:pt idx="32">
                  <c:v>13042</c:v>
                </c:pt>
                <c:pt idx="33">
                  <c:v>13947</c:v>
                </c:pt>
                <c:pt idx="34">
                  <c:v>14665</c:v>
                </c:pt>
                <c:pt idx="35">
                  <c:v>15322</c:v>
                </c:pt>
                <c:pt idx="36">
                  <c:v>15786</c:v>
                </c:pt>
                <c:pt idx="37">
                  <c:v>16229</c:v>
                </c:pt>
                <c:pt idx="38">
                  <c:v>16689</c:v>
                </c:pt>
                <c:pt idx="39">
                  <c:v>17072</c:v>
                </c:pt>
                <c:pt idx="40">
                  <c:v>17356</c:v>
                </c:pt>
                <c:pt idx="41">
                  <c:v>17486</c:v>
                </c:pt>
                <c:pt idx="42">
                  <c:v>17413</c:v>
                </c:pt>
                <c:pt idx="43">
                  <c:v>16872</c:v>
                </c:pt>
                <c:pt idx="44">
                  <c:v>15962</c:v>
                </c:pt>
                <c:pt idx="45">
                  <c:v>14964</c:v>
                </c:pt>
                <c:pt idx="46">
                  <c:v>14266</c:v>
                </c:pt>
                <c:pt idx="47">
                  <c:v>13017</c:v>
                </c:pt>
                <c:pt idx="48">
                  <c:v>11743</c:v>
                </c:pt>
                <c:pt idx="49">
                  <c:v>10727</c:v>
                </c:pt>
                <c:pt idx="50">
                  <c:v>10103</c:v>
                </c:pt>
                <c:pt idx="51">
                  <c:v>9653</c:v>
                </c:pt>
                <c:pt idx="52">
                  <c:v>9461</c:v>
                </c:pt>
                <c:pt idx="53">
                  <c:v>9557</c:v>
                </c:pt>
                <c:pt idx="54">
                  <c:v>9977</c:v>
                </c:pt>
                <c:pt idx="55">
                  <c:v>10947</c:v>
                </c:pt>
                <c:pt idx="56">
                  <c:v>12122</c:v>
                </c:pt>
                <c:pt idx="57">
                  <c:v>13286</c:v>
                </c:pt>
                <c:pt idx="58">
                  <c:v>14392</c:v>
                </c:pt>
                <c:pt idx="59">
                  <c:v>15475</c:v>
                </c:pt>
                <c:pt idx="60">
                  <c:v>16418</c:v>
                </c:pt>
                <c:pt idx="61">
                  <c:v>17310</c:v>
                </c:pt>
                <c:pt idx="62">
                  <c:v>18058</c:v>
                </c:pt>
                <c:pt idx="63">
                  <c:v>18493</c:v>
                </c:pt>
                <c:pt idx="64">
                  <c:v>18765</c:v>
                </c:pt>
                <c:pt idx="65">
                  <c:v>19005</c:v>
                </c:pt>
                <c:pt idx="66">
                  <c:v>18939</c:v>
                </c:pt>
                <c:pt idx="67">
                  <c:v>18329</c:v>
                </c:pt>
                <c:pt idx="68">
                  <c:v>17483</c:v>
                </c:pt>
                <c:pt idx="69">
                  <c:v>16798</c:v>
                </c:pt>
                <c:pt idx="70">
                  <c:v>16263</c:v>
                </c:pt>
                <c:pt idx="71">
                  <c:v>15221</c:v>
                </c:pt>
                <c:pt idx="72">
                  <c:v>14124</c:v>
                </c:pt>
                <c:pt idx="73">
                  <c:v>13088</c:v>
                </c:pt>
                <c:pt idx="74">
                  <c:v>12394</c:v>
                </c:pt>
                <c:pt idx="75">
                  <c:v>11815</c:v>
                </c:pt>
                <c:pt idx="76">
                  <c:v>11435</c:v>
                </c:pt>
                <c:pt idx="77">
                  <c:v>11185</c:v>
                </c:pt>
                <c:pt idx="78">
                  <c:v>11026</c:v>
                </c:pt>
                <c:pt idx="79">
                  <c:v>11339</c:v>
                </c:pt>
                <c:pt idx="80">
                  <c:v>12267</c:v>
                </c:pt>
                <c:pt idx="81">
                  <c:v>13470</c:v>
                </c:pt>
                <c:pt idx="82">
                  <c:v>14834</c:v>
                </c:pt>
                <c:pt idx="83">
                  <c:v>16089</c:v>
                </c:pt>
                <c:pt idx="84">
                  <c:v>16914</c:v>
                </c:pt>
                <c:pt idx="85">
                  <c:v>17377</c:v>
                </c:pt>
                <c:pt idx="86">
                  <c:v>17818</c:v>
                </c:pt>
                <c:pt idx="87">
                  <c:v>17984</c:v>
                </c:pt>
                <c:pt idx="88">
                  <c:v>18022</c:v>
                </c:pt>
                <c:pt idx="89">
                  <c:v>17834</c:v>
                </c:pt>
                <c:pt idx="90">
                  <c:v>17700</c:v>
                </c:pt>
                <c:pt idx="91">
                  <c:v>17134</c:v>
                </c:pt>
                <c:pt idx="92">
                  <c:v>16366</c:v>
                </c:pt>
                <c:pt idx="93">
                  <c:v>15949</c:v>
                </c:pt>
                <c:pt idx="94">
                  <c:v>15347</c:v>
                </c:pt>
                <c:pt idx="95">
                  <c:v>14424</c:v>
                </c:pt>
                <c:pt idx="96">
                  <c:v>13453</c:v>
                </c:pt>
                <c:pt idx="97">
                  <c:v>12563</c:v>
                </c:pt>
                <c:pt idx="98">
                  <c:v>11827</c:v>
                </c:pt>
                <c:pt idx="99">
                  <c:v>11304</c:v>
                </c:pt>
                <c:pt idx="100">
                  <c:v>11086</c:v>
                </c:pt>
                <c:pt idx="101">
                  <c:v>11141</c:v>
                </c:pt>
                <c:pt idx="102">
                  <c:v>11533</c:v>
                </c:pt>
                <c:pt idx="103">
                  <c:v>12568</c:v>
                </c:pt>
                <c:pt idx="104">
                  <c:v>14001</c:v>
                </c:pt>
                <c:pt idx="105">
                  <c:v>15430</c:v>
                </c:pt>
                <c:pt idx="106">
                  <c:v>16806</c:v>
                </c:pt>
                <c:pt idx="107">
                  <c:v>18005</c:v>
                </c:pt>
                <c:pt idx="108">
                  <c:v>18952</c:v>
                </c:pt>
                <c:pt idx="109">
                  <c:v>19537</c:v>
                </c:pt>
                <c:pt idx="110">
                  <c:v>19495</c:v>
                </c:pt>
                <c:pt idx="111">
                  <c:v>18233</c:v>
                </c:pt>
                <c:pt idx="112">
                  <c:v>17396</c:v>
                </c:pt>
                <c:pt idx="113">
                  <c:v>17073</c:v>
                </c:pt>
                <c:pt idx="114">
                  <c:v>16817</c:v>
                </c:pt>
                <c:pt idx="115">
                  <c:v>16380</c:v>
                </c:pt>
                <c:pt idx="116">
                  <c:v>16111</c:v>
                </c:pt>
                <c:pt idx="117">
                  <c:v>15687</c:v>
                </c:pt>
                <c:pt idx="118">
                  <c:v>15356</c:v>
                </c:pt>
                <c:pt idx="119">
                  <c:v>14335</c:v>
                </c:pt>
                <c:pt idx="120">
                  <c:v>13178</c:v>
                </c:pt>
                <c:pt idx="121">
                  <c:v>12136</c:v>
                </c:pt>
                <c:pt idx="122">
                  <c:v>11304</c:v>
                </c:pt>
                <c:pt idx="123">
                  <c:v>10677</c:v>
                </c:pt>
                <c:pt idx="124">
                  <c:v>10317</c:v>
                </c:pt>
                <c:pt idx="125">
                  <c:v>10275</c:v>
                </c:pt>
                <c:pt idx="126">
                  <c:v>10455</c:v>
                </c:pt>
                <c:pt idx="127">
                  <c:v>11248</c:v>
                </c:pt>
                <c:pt idx="128">
                  <c:v>12290</c:v>
                </c:pt>
                <c:pt idx="129">
                  <c:v>13029</c:v>
                </c:pt>
                <c:pt idx="130">
                  <c:v>13513</c:v>
                </c:pt>
                <c:pt idx="131">
                  <c:v>13875</c:v>
                </c:pt>
                <c:pt idx="132">
                  <c:v>13973</c:v>
                </c:pt>
                <c:pt idx="133">
                  <c:v>14025</c:v>
                </c:pt>
                <c:pt idx="134">
                  <c:v>14201</c:v>
                </c:pt>
                <c:pt idx="135">
                  <c:v>14286</c:v>
                </c:pt>
                <c:pt idx="136">
                  <c:v>14381</c:v>
                </c:pt>
                <c:pt idx="137">
                  <c:v>14375</c:v>
                </c:pt>
                <c:pt idx="138">
                  <c:v>14183</c:v>
                </c:pt>
                <c:pt idx="139">
                  <c:v>13591</c:v>
                </c:pt>
                <c:pt idx="140">
                  <c:v>12901</c:v>
                </c:pt>
                <c:pt idx="141">
                  <c:v>12191</c:v>
                </c:pt>
                <c:pt idx="142">
                  <c:v>11826</c:v>
                </c:pt>
                <c:pt idx="143">
                  <c:v>11082</c:v>
                </c:pt>
                <c:pt idx="144">
                  <c:v>10248</c:v>
                </c:pt>
                <c:pt idx="145">
                  <c:v>9600</c:v>
                </c:pt>
                <c:pt idx="146">
                  <c:v>9145</c:v>
                </c:pt>
                <c:pt idx="147">
                  <c:v>8806</c:v>
                </c:pt>
                <c:pt idx="148">
                  <c:v>8626</c:v>
                </c:pt>
                <c:pt idx="149">
                  <c:v>8599</c:v>
                </c:pt>
                <c:pt idx="150">
                  <c:v>8517</c:v>
                </c:pt>
                <c:pt idx="151">
                  <c:v>8858</c:v>
                </c:pt>
                <c:pt idx="152">
                  <c:v>9497</c:v>
                </c:pt>
                <c:pt idx="153">
                  <c:v>10171</c:v>
                </c:pt>
                <c:pt idx="154">
                  <c:v>10731</c:v>
                </c:pt>
                <c:pt idx="155">
                  <c:v>11283</c:v>
                </c:pt>
                <c:pt idx="156">
                  <c:v>11669</c:v>
                </c:pt>
                <c:pt idx="157">
                  <c:v>12011</c:v>
                </c:pt>
                <c:pt idx="158">
                  <c:v>12201</c:v>
                </c:pt>
                <c:pt idx="159">
                  <c:v>12601</c:v>
                </c:pt>
                <c:pt idx="160">
                  <c:v>12934</c:v>
                </c:pt>
                <c:pt idx="161">
                  <c:v>13278</c:v>
                </c:pt>
                <c:pt idx="162">
                  <c:v>13302</c:v>
                </c:pt>
                <c:pt idx="163">
                  <c:v>13043</c:v>
                </c:pt>
                <c:pt idx="164">
                  <c:v>12489</c:v>
                </c:pt>
                <c:pt idx="165">
                  <c:v>11924</c:v>
                </c:pt>
                <c:pt idx="166">
                  <c:v>11603</c:v>
                </c:pt>
                <c:pt idx="167">
                  <c:v>109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86E-4708-BCDB-6961C0B70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0970384"/>
        <c:axId val="465061744"/>
      </c:lineChart>
      <c:catAx>
        <c:axId val="480970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61744"/>
        <c:crosses val="autoZero"/>
        <c:auto val="1"/>
        <c:lblAlgn val="ctr"/>
        <c:lblOffset val="100"/>
        <c:noMultiLvlLbl val="0"/>
      </c:catAx>
      <c:valAx>
        <c:axId val="465061744"/>
        <c:scaling>
          <c:orientation val="minMax"/>
          <c:max val="2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0970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300" b="0" i="0" baseline="0" dirty="0">
                <a:effectLst/>
              </a:rPr>
              <a:t>ComEd Zone Hourly MW for July Week  </a:t>
            </a:r>
            <a:endParaRPr lang="en-US" sz="1300" dirty="0">
              <a:effectLst/>
            </a:endParaRPr>
          </a:p>
          <a:p>
            <a:pPr>
              <a:defRPr/>
            </a:pPr>
            <a:r>
              <a:rPr lang="en-US" sz="1300" b="0" i="0" baseline="0" dirty="0">
                <a:effectLst/>
              </a:rPr>
              <a:t>75% Zero-Emission Load</a:t>
            </a:r>
            <a:endParaRPr lang="en-US" sz="1300" dirty="0">
              <a:effectLst/>
            </a:endParaRPr>
          </a:p>
        </c:rich>
      </c:tx>
      <c:layout>
        <c:manualLayout>
          <c:xMode val="edge"/>
          <c:yMode val="edge"/>
          <c:x val="0.17589275456858727"/>
          <c:y val="1.11045435945145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B$2:$B$169</c:f>
              <c:numCache>
                <c:formatCode>#,##0</c:formatCode>
                <c:ptCount val="168"/>
                <c:pt idx="0">
                  <c:v>10052</c:v>
                </c:pt>
                <c:pt idx="1">
                  <c:v>10048</c:v>
                </c:pt>
                <c:pt idx="2">
                  <c:v>10065</c:v>
                </c:pt>
                <c:pt idx="3">
                  <c:v>10064</c:v>
                </c:pt>
                <c:pt idx="4">
                  <c:v>10067</c:v>
                </c:pt>
                <c:pt idx="5">
                  <c:v>10073</c:v>
                </c:pt>
                <c:pt idx="6">
                  <c:v>10066</c:v>
                </c:pt>
                <c:pt idx="7">
                  <c:v>10065</c:v>
                </c:pt>
                <c:pt idx="8">
                  <c:v>10064</c:v>
                </c:pt>
                <c:pt idx="9">
                  <c:v>10065</c:v>
                </c:pt>
                <c:pt idx="10">
                  <c:v>10061</c:v>
                </c:pt>
                <c:pt idx="11">
                  <c:v>10054</c:v>
                </c:pt>
                <c:pt idx="12">
                  <c:v>10043</c:v>
                </c:pt>
                <c:pt idx="13">
                  <c:v>10040</c:v>
                </c:pt>
                <c:pt idx="14">
                  <c:v>10037</c:v>
                </c:pt>
                <c:pt idx="15">
                  <c:v>10049</c:v>
                </c:pt>
                <c:pt idx="16">
                  <c:v>10046</c:v>
                </c:pt>
                <c:pt idx="17">
                  <c:v>10056</c:v>
                </c:pt>
                <c:pt idx="18">
                  <c:v>10048</c:v>
                </c:pt>
                <c:pt idx="19">
                  <c:v>10060</c:v>
                </c:pt>
                <c:pt idx="20">
                  <c:v>10068</c:v>
                </c:pt>
                <c:pt idx="21">
                  <c:v>10073</c:v>
                </c:pt>
                <c:pt idx="22">
                  <c:v>10080</c:v>
                </c:pt>
                <c:pt idx="23">
                  <c:v>10081</c:v>
                </c:pt>
                <c:pt idx="24">
                  <c:v>10086</c:v>
                </c:pt>
                <c:pt idx="25">
                  <c:v>10091</c:v>
                </c:pt>
                <c:pt idx="26">
                  <c:v>10102</c:v>
                </c:pt>
                <c:pt idx="27">
                  <c:v>10105</c:v>
                </c:pt>
                <c:pt idx="28">
                  <c:v>10111</c:v>
                </c:pt>
                <c:pt idx="29">
                  <c:v>10105</c:v>
                </c:pt>
                <c:pt idx="30">
                  <c:v>10112</c:v>
                </c:pt>
                <c:pt idx="31">
                  <c:v>10121</c:v>
                </c:pt>
                <c:pt idx="32">
                  <c:v>10113</c:v>
                </c:pt>
                <c:pt idx="33">
                  <c:v>10117</c:v>
                </c:pt>
                <c:pt idx="34">
                  <c:v>10106</c:v>
                </c:pt>
                <c:pt idx="35">
                  <c:v>10105</c:v>
                </c:pt>
                <c:pt idx="36">
                  <c:v>10095</c:v>
                </c:pt>
                <c:pt idx="37">
                  <c:v>10081</c:v>
                </c:pt>
                <c:pt idx="38">
                  <c:v>10078</c:v>
                </c:pt>
                <c:pt idx="39">
                  <c:v>10071</c:v>
                </c:pt>
                <c:pt idx="40">
                  <c:v>10062</c:v>
                </c:pt>
                <c:pt idx="41">
                  <c:v>10061</c:v>
                </c:pt>
                <c:pt idx="42">
                  <c:v>10051</c:v>
                </c:pt>
                <c:pt idx="43">
                  <c:v>10049</c:v>
                </c:pt>
                <c:pt idx="44">
                  <c:v>10048</c:v>
                </c:pt>
                <c:pt idx="45">
                  <c:v>10050</c:v>
                </c:pt>
                <c:pt idx="46">
                  <c:v>10050</c:v>
                </c:pt>
                <c:pt idx="47">
                  <c:v>10052</c:v>
                </c:pt>
                <c:pt idx="48">
                  <c:v>10026</c:v>
                </c:pt>
                <c:pt idx="49">
                  <c:v>10036</c:v>
                </c:pt>
                <c:pt idx="50">
                  <c:v>10040</c:v>
                </c:pt>
                <c:pt idx="51">
                  <c:v>10047</c:v>
                </c:pt>
                <c:pt idx="52">
                  <c:v>10048</c:v>
                </c:pt>
                <c:pt idx="53">
                  <c:v>10069</c:v>
                </c:pt>
                <c:pt idx="54">
                  <c:v>10087</c:v>
                </c:pt>
                <c:pt idx="55">
                  <c:v>10082</c:v>
                </c:pt>
                <c:pt idx="56">
                  <c:v>10081</c:v>
                </c:pt>
                <c:pt idx="57">
                  <c:v>10071</c:v>
                </c:pt>
                <c:pt idx="58">
                  <c:v>10059</c:v>
                </c:pt>
                <c:pt idx="59">
                  <c:v>10052</c:v>
                </c:pt>
                <c:pt idx="60">
                  <c:v>10049</c:v>
                </c:pt>
                <c:pt idx="61">
                  <c:v>10044</c:v>
                </c:pt>
                <c:pt idx="62">
                  <c:v>10040</c:v>
                </c:pt>
                <c:pt idx="63">
                  <c:v>10024</c:v>
                </c:pt>
                <c:pt idx="64">
                  <c:v>10022</c:v>
                </c:pt>
                <c:pt idx="65">
                  <c:v>10015</c:v>
                </c:pt>
                <c:pt idx="66">
                  <c:v>10010</c:v>
                </c:pt>
                <c:pt idx="67">
                  <c:v>10016</c:v>
                </c:pt>
                <c:pt idx="68">
                  <c:v>10013</c:v>
                </c:pt>
                <c:pt idx="69">
                  <c:v>10017</c:v>
                </c:pt>
                <c:pt idx="70">
                  <c:v>10022</c:v>
                </c:pt>
                <c:pt idx="71">
                  <c:v>10019</c:v>
                </c:pt>
                <c:pt idx="72">
                  <c:v>10020</c:v>
                </c:pt>
                <c:pt idx="73">
                  <c:v>10026</c:v>
                </c:pt>
                <c:pt idx="74">
                  <c:v>10031</c:v>
                </c:pt>
                <c:pt idx="75">
                  <c:v>10029</c:v>
                </c:pt>
                <c:pt idx="76">
                  <c:v>10027</c:v>
                </c:pt>
                <c:pt idx="77">
                  <c:v>10027</c:v>
                </c:pt>
                <c:pt idx="78">
                  <c:v>10026</c:v>
                </c:pt>
                <c:pt idx="79">
                  <c:v>10023</c:v>
                </c:pt>
                <c:pt idx="80">
                  <c:v>10015</c:v>
                </c:pt>
                <c:pt idx="81">
                  <c:v>10015</c:v>
                </c:pt>
                <c:pt idx="82">
                  <c:v>10010</c:v>
                </c:pt>
                <c:pt idx="83">
                  <c:v>10011</c:v>
                </c:pt>
                <c:pt idx="84">
                  <c:v>9998</c:v>
                </c:pt>
                <c:pt idx="85">
                  <c:v>10004</c:v>
                </c:pt>
                <c:pt idx="86">
                  <c:v>10001</c:v>
                </c:pt>
                <c:pt idx="87">
                  <c:v>10002</c:v>
                </c:pt>
                <c:pt idx="88">
                  <c:v>9991</c:v>
                </c:pt>
                <c:pt idx="89">
                  <c:v>9987</c:v>
                </c:pt>
                <c:pt idx="90">
                  <c:v>10000</c:v>
                </c:pt>
                <c:pt idx="91">
                  <c:v>10000</c:v>
                </c:pt>
                <c:pt idx="92">
                  <c:v>10010</c:v>
                </c:pt>
                <c:pt idx="93">
                  <c:v>10016</c:v>
                </c:pt>
                <c:pt idx="94">
                  <c:v>10023</c:v>
                </c:pt>
                <c:pt idx="95">
                  <c:v>10028</c:v>
                </c:pt>
                <c:pt idx="96">
                  <c:v>10031</c:v>
                </c:pt>
                <c:pt idx="97">
                  <c:v>10032</c:v>
                </c:pt>
                <c:pt idx="98">
                  <c:v>10031</c:v>
                </c:pt>
                <c:pt idx="99">
                  <c:v>10040</c:v>
                </c:pt>
                <c:pt idx="100">
                  <c:v>10024</c:v>
                </c:pt>
                <c:pt idx="101">
                  <c:v>10034</c:v>
                </c:pt>
                <c:pt idx="102">
                  <c:v>10032</c:v>
                </c:pt>
                <c:pt idx="103">
                  <c:v>10031</c:v>
                </c:pt>
                <c:pt idx="104">
                  <c:v>10028</c:v>
                </c:pt>
                <c:pt idx="105">
                  <c:v>10020</c:v>
                </c:pt>
                <c:pt idx="106">
                  <c:v>10012</c:v>
                </c:pt>
                <c:pt idx="107">
                  <c:v>10010</c:v>
                </c:pt>
                <c:pt idx="108">
                  <c:v>10006</c:v>
                </c:pt>
                <c:pt idx="109">
                  <c:v>10000</c:v>
                </c:pt>
                <c:pt idx="110">
                  <c:v>9991</c:v>
                </c:pt>
                <c:pt idx="111">
                  <c:v>9994</c:v>
                </c:pt>
                <c:pt idx="112">
                  <c:v>9997</c:v>
                </c:pt>
                <c:pt idx="113">
                  <c:v>9999</c:v>
                </c:pt>
                <c:pt idx="114">
                  <c:v>10003</c:v>
                </c:pt>
                <c:pt idx="115">
                  <c:v>10002</c:v>
                </c:pt>
                <c:pt idx="116">
                  <c:v>10000</c:v>
                </c:pt>
                <c:pt idx="117">
                  <c:v>10006</c:v>
                </c:pt>
                <c:pt idx="118">
                  <c:v>10024</c:v>
                </c:pt>
                <c:pt idx="119">
                  <c:v>10028</c:v>
                </c:pt>
                <c:pt idx="120">
                  <c:v>10035</c:v>
                </c:pt>
                <c:pt idx="121">
                  <c:v>10035</c:v>
                </c:pt>
                <c:pt idx="122">
                  <c:v>10052</c:v>
                </c:pt>
                <c:pt idx="123">
                  <c:v>9979</c:v>
                </c:pt>
                <c:pt idx="124">
                  <c:v>10015</c:v>
                </c:pt>
                <c:pt idx="125">
                  <c:v>10068</c:v>
                </c:pt>
                <c:pt idx="126">
                  <c:v>10074</c:v>
                </c:pt>
                <c:pt idx="127">
                  <c:v>10083</c:v>
                </c:pt>
                <c:pt idx="128">
                  <c:v>10087</c:v>
                </c:pt>
                <c:pt idx="129">
                  <c:v>10087</c:v>
                </c:pt>
                <c:pt idx="130">
                  <c:v>10093</c:v>
                </c:pt>
                <c:pt idx="131">
                  <c:v>10083</c:v>
                </c:pt>
                <c:pt idx="132">
                  <c:v>10079</c:v>
                </c:pt>
                <c:pt idx="133">
                  <c:v>10074</c:v>
                </c:pt>
                <c:pt idx="134">
                  <c:v>10074</c:v>
                </c:pt>
                <c:pt idx="135">
                  <c:v>10079</c:v>
                </c:pt>
                <c:pt idx="136">
                  <c:v>10071</c:v>
                </c:pt>
                <c:pt idx="137">
                  <c:v>10074</c:v>
                </c:pt>
                <c:pt idx="138">
                  <c:v>10075</c:v>
                </c:pt>
                <c:pt idx="139">
                  <c:v>10077</c:v>
                </c:pt>
                <c:pt idx="140">
                  <c:v>10083</c:v>
                </c:pt>
                <c:pt idx="141">
                  <c:v>10090</c:v>
                </c:pt>
                <c:pt idx="142">
                  <c:v>10096</c:v>
                </c:pt>
                <c:pt idx="143">
                  <c:v>10101</c:v>
                </c:pt>
                <c:pt idx="144">
                  <c:v>10107</c:v>
                </c:pt>
                <c:pt idx="145">
                  <c:v>10113</c:v>
                </c:pt>
                <c:pt idx="146">
                  <c:v>10120</c:v>
                </c:pt>
                <c:pt idx="147">
                  <c:v>10123</c:v>
                </c:pt>
                <c:pt idx="148">
                  <c:v>10124</c:v>
                </c:pt>
                <c:pt idx="149">
                  <c:v>10128</c:v>
                </c:pt>
                <c:pt idx="150">
                  <c:v>10128</c:v>
                </c:pt>
                <c:pt idx="151">
                  <c:v>10133</c:v>
                </c:pt>
                <c:pt idx="152">
                  <c:v>10133</c:v>
                </c:pt>
                <c:pt idx="153">
                  <c:v>10130</c:v>
                </c:pt>
                <c:pt idx="154">
                  <c:v>10123</c:v>
                </c:pt>
                <c:pt idx="155">
                  <c:v>10117</c:v>
                </c:pt>
                <c:pt idx="156">
                  <c:v>10119</c:v>
                </c:pt>
                <c:pt idx="157">
                  <c:v>10108</c:v>
                </c:pt>
                <c:pt idx="158">
                  <c:v>10106</c:v>
                </c:pt>
                <c:pt idx="159">
                  <c:v>10102</c:v>
                </c:pt>
                <c:pt idx="160">
                  <c:v>10097</c:v>
                </c:pt>
                <c:pt idx="161">
                  <c:v>10097</c:v>
                </c:pt>
                <c:pt idx="162">
                  <c:v>10089</c:v>
                </c:pt>
                <c:pt idx="163">
                  <c:v>10089</c:v>
                </c:pt>
                <c:pt idx="164">
                  <c:v>10025</c:v>
                </c:pt>
                <c:pt idx="165">
                  <c:v>9935</c:v>
                </c:pt>
                <c:pt idx="166">
                  <c:v>9942</c:v>
                </c:pt>
                <c:pt idx="167">
                  <c:v>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6E-4708-BCDB-6961C0B70A8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88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C$2:$C$169</c:f>
              <c:numCache>
                <c:formatCode>#,##0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6E-4708-BCDB-6961C0B70A8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D$2:$D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2-686E-4708-BCDB-6961C0B70A8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686E-4708-BCDB-6961C0B70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5066056"/>
        <c:axId val="465064096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Load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F$2:$F$169</c:f>
              <c:numCache>
                <c:formatCode>#,##0</c:formatCode>
                <c:ptCount val="168"/>
                <c:pt idx="0">
                  <c:v>15466</c:v>
                </c:pt>
                <c:pt idx="1">
                  <c:v>14452</c:v>
                </c:pt>
                <c:pt idx="2">
                  <c:v>13586</c:v>
                </c:pt>
                <c:pt idx="3">
                  <c:v>12906</c:v>
                </c:pt>
                <c:pt idx="4">
                  <c:v>12416</c:v>
                </c:pt>
                <c:pt idx="5">
                  <c:v>12100</c:v>
                </c:pt>
                <c:pt idx="6">
                  <c:v>11849</c:v>
                </c:pt>
                <c:pt idx="7">
                  <c:v>11960</c:v>
                </c:pt>
                <c:pt idx="8">
                  <c:v>12831</c:v>
                </c:pt>
                <c:pt idx="9">
                  <c:v>14181</c:v>
                </c:pt>
                <c:pt idx="10">
                  <c:v>15384</c:v>
                </c:pt>
                <c:pt idx="11">
                  <c:v>16494</c:v>
                </c:pt>
                <c:pt idx="12">
                  <c:v>17475</c:v>
                </c:pt>
                <c:pt idx="13">
                  <c:v>18150</c:v>
                </c:pt>
                <c:pt idx="14">
                  <c:v>18634</c:v>
                </c:pt>
                <c:pt idx="15">
                  <c:v>18932</c:v>
                </c:pt>
                <c:pt idx="16">
                  <c:v>18910</c:v>
                </c:pt>
                <c:pt idx="17">
                  <c:v>18056</c:v>
                </c:pt>
                <c:pt idx="18">
                  <c:v>16710</c:v>
                </c:pt>
                <c:pt idx="19">
                  <c:v>15828</c:v>
                </c:pt>
                <c:pt idx="20">
                  <c:v>15320</c:v>
                </c:pt>
                <c:pt idx="21">
                  <c:v>14969</c:v>
                </c:pt>
                <c:pt idx="22">
                  <c:v>14812</c:v>
                </c:pt>
                <c:pt idx="23">
                  <c:v>14068</c:v>
                </c:pt>
                <c:pt idx="24">
                  <c:v>13134</c:v>
                </c:pt>
                <c:pt idx="25">
                  <c:v>12278</c:v>
                </c:pt>
                <c:pt idx="26">
                  <c:v>11616</c:v>
                </c:pt>
                <c:pt idx="27">
                  <c:v>11131</c:v>
                </c:pt>
                <c:pt idx="28">
                  <c:v>10787</c:v>
                </c:pt>
                <c:pt idx="29">
                  <c:v>10806</c:v>
                </c:pt>
                <c:pt idx="30">
                  <c:v>11065</c:v>
                </c:pt>
                <c:pt idx="31">
                  <c:v>11846</c:v>
                </c:pt>
                <c:pt idx="32">
                  <c:v>13042</c:v>
                </c:pt>
                <c:pt idx="33">
                  <c:v>13947</c:v>
                </c:pt>
                <c:pt idx="34">
                  <c:v>14665</c:v>
                </c:pt>
                <c:pt idx="35">
                  <c:v>15322</c:v>
                </c:pt>
                <c:pt idx="36">
                  <c:v>15786</c:v>
                </c:pt>
                <c:pt idx="37">
                  <c:v>16229</c:v>
                </c:pt>
                <c:pt idx="38">
                  <c:v>16689</c:v>
                </c:pt>
                <c:pt idx="39">
                  <c:v>17072</c:v>
                </c:pt>
                <c:pt idx="40">
                  <c:v>17356</c:v>
                </c:pt>
                <c:pt idx="41">
                  <c:v>17486</c:v>
                </c:pt>
                <c:pt idx="42">
                  <c:v>17413</c:v>
                </c:pt>
                <c:pt idx="43">
                  <c:v>16872</c:v>
                </c:pt>
                <c:pt idx="44">
                  <c:v>15962</c:v>
                </c:pt>
                <c:pt idx="45">
                  <c:v>14964</c:v>
                </c:pt>
                <c:pt idx="46">
                  <c:v>14266</c:v>
                </c:pt>
                <c:pt idx="47">
                  <c:v>13017</c:v>
                </c:pt>
                <c:pt idx="48">
                  <c:v>11743</c:v>
                </c:pt>
                <c:pt idx="49">
                  <c:v>10727</c:v>
                </c:pt>
                <c:pt idx="50">
                  <c:v>10103</c:v>
                </c:pt>
                <c:pt idx="51">
                  <c:v>9653</c:v>
                </c:pt>
                <c:pt idx="52">
                  <c:v>9461</c:v>
                </c:pt>
                <c:pt idx="53">
                  <c:v>9557</c:v>
                </c:pt>
                <c:pt idx="54">
                  <c:v>9977</c:v>
                </c:pt>
                <c:pt idx="55">
                  <c:v>10947</c:v>
                </c:pt>
                <c:pt idx="56">
                  <c:v>12122</c:v>
                </c:pt>
                <c:pt idx="57">
                  <c:v>13286</c:v>
                </c:pt>
                <c:pt idx="58">
                  <c:v>14392</c:v>
                </c:pt>
                <c:pt idx="59">
                  <c:v>15475</c:v>
                </c:pt>
                <c:pt idx="60">
                  <c:v>16418</c:v>
                </c:pt>
                <c:pt idx="61">
                  <c:v>17310</c:v>
                </c:pt>
                <c:pt idx="62">
                  <c:v>18058</c:v>
                </c:pt>
                <c:pt idx="63">
                  <c:v>18493</c:v>
                </c:pt>
                <c:pt idx="64">
                  <c:v>18765</c:v>
                </c:pt>
                <c:pt idx="65">
                  <c:v>19005</c:v>
                </c:pt>
                <c:pt idx="66">
                  <c:v>18939</c:v>
                </c:pt>
                <c:pt idx="67">
                  <c:v>18329</c:v>
                </c:pt>
                <c:pt idx="68">
                  <c:v>17483</c:v>
                </c:pt>
                <c:pt idx="69">
                  <c:v>16798</c:v>
                </c:pt>
                <c:pt idx="70">
                  <c:v>16263</c:v>
                </c:pt>
                <c:pt idx="71">
                  <c:v>15221</c:v>
                </c:pt>
                <c:pt idx="72">
                  <c:v>14124</c:v>
                </c:pt>
                <c:pt idx="73">
                  <c:v>13088</c:v>
                </c:pt>
                <c:pt idx="74">
                  <c:v>12394</c:v>
                </c:pt>
                <c:pt idx="75">
                  <c:v>11815</c:v>
                </c:pt>
                <c:pt idx="76">
                  <c:v>11435</c:v>
                </c:pt>
                <c:pt idx="77">
                  <c:v>11185</c:v>
                </c:pt>
                <c:pt idx="78">
                  <c:v>11026</c:v>
                </c:pt>
                <c:pt idx="79">
                  <c:v>11339</c:v>
                </c:pt>
                <c:pt idx="80">
                  <c:v>12267</c:v>
                </c:pt>
                <c:pt idx="81">
                  <c:v>13470</c:v>
                </c:pt>
                <c:pt idx="82">
                  <c:v>14834</c:v>
                </c:pt>
                <c:pt idx="83">
                  <c:v>16089</c:v>
                </c:pt>
                <c:pt idx="84">
                  <c:v>16914</c:v>
                </c:pt>
                <c:pt idx="85">
                  <c:v>17377</c:v>
                </c:pt>
                <c:pt idx="86">
                  <c:v>17818</c:v>
                </c:pt>
                <c:pt idx="87">
                  <c:v>17984</c:v>
                </c:pt>
                <c:pt idx="88">
                  <c:v>18022</c:v>
                </c:pt>
                <c:pt idx="89">
                  <c:v>17834</c:v>
                </c:pt>
                <c:pt idx="90">
                  <c:v>17700</c:v>
                </c:pt>
                <c:pt idx="91">
                  <c:v>17134</c:v>
                </c:pt>
                <c:pt idx="92">
                  <c:v>16366</c:v>
                </c:pt>
                <c:pt idx="93">
                  <c:v>15949</c:v>
                </c:pt>
                <c:pt idx="94">
                  <c:v>15347</c:v>
                </c:pt>
                <c:pt idx="95">
                  <c:v>14424</c:v>
                </c:pt>
                <c:pt idx="96">
                  <c:v>13453</c:v>
                </c:pt>
                <c:pt idx="97">
                  <c:v>12563</c:v>
                </c:pt>
                <c:pt idx="98">
                  <c:v>11827</c:v>
                </c:pt>
                <c:pt idx="99">
                  <c:v>11304</c:v>
                </c:pt>
                <c:pt idx="100">
                  <c:v>11086</c:v>
                </c:pt>
                <c:pt idx="101">
                  <c:v>11141</c:v>
                </c:pt>
                <c:pt idx="102">
                  <c:v>11533</c:v>
                </c:pt>
                <c:pt idx="103">
                  <c:v>12568</c:v>
                </c:pt>
                <c:pt idx="104">
                  <c:v>14001</c:v>
                </c:pt>
                <c:pt idx="105">
                  <c:v>15430</c:v>
                </c:pt>
                <c:pt idx="106">
                  <c:v>16806</c:v>
                </c:pt>
                <c:pt idx="107">
                  <c:v>18005</c:v>
                </c:pt>
                <c:pt idx="108">
                  <c:v>18952</c:v>
                </c:pt>
                <c:pt idx="109">
                  <c:v>19537</c:v>
                </c:pt>
                <c:pt idx="110">
                  <c:v>19495</c:v>
                </c:pt>
                <c:pt idx="111">
                  <c:v>18233</c:v>
                </c:pt>
                <c:pt idx="112">
                  <c:v>17396</c:v>
                </c:pt>
                <c:pt idx="113">
                  <c:v>17073</c:v>
                </c:pt>
                <c:pt idx="114">
                  <c:v>16817</c:v>
                </c:pt>
                <c:pt idx="115">
                  <c:v>16380</c:v>
                </c:pt>
                <c:pt idx="116">
                  <c:v>16111</c:v>
                </c:pt>
                <c:pt idx="117">
                  <c:v>15687</c:v>
                </c:pt>
                <c:pt idx="118">
                  <c:v>15356</c:v>
                </c:pt>
                <c:pt idx="119">
                  <c:v>14335</c:v>
                </c:pt>
                <c:pt idx="120">
                  <c:v>13178</c:v>
                </c:pt>
                <c:pt idx="121">
                  <c:v>12136</c:v>
                </c:pt>
                <c:pt idx="122">
                  <c:v>11304</c:v>
                </c:pt>
                <c:pt idx="123">
                  <c:v>10677</c:v>
                </c:pt>
                <c:pt idx="124">
                  <c:v>10317</c:v>
                </c:pt>
                <c:pt idx="125">
                  <c:v>10275</c:v>
                </c:pt>
                <c:pt idx="126">
                  <c:v>10455</c:v>
                </c:pt>
                <c:pt idx="127">
                  <c:v>11248</c:v>
                </c:pt>
                <c:pt idx="128">
                  <c:v>12290</c:v>
                </c:pt>
                <c:pt idx="129">
                  <c:v>13029</c:v>
                </c:pt>
                <c:pt idx="130">
                  <c:v>13513</c:v>
                </c:pt>
                <c:pt idx="131">
                  <c:v>13875</c:v>
                </c:pt>
                <c:pt idx="132">
                  <c:v>13973</c:v>
                </c:pt>
                <c:pt idx="133">
                  <c:v>14025</c:v>
                </c:pt>
                <c:pt idx="134">
                  <c:v>14201</c:v>
                </c:pt>
                <c:pt idx="135">
                  <c:v>14286</c:v>
                </c:pt>
                <c:pt idx="136">
                  <c:v>14381</c:v>
                </c:pt>
                <c:pt idx="137">
                  <c:v>14375</c:v>
                </c:pt>
                <c:pt idx="138">
                  <c:v>14183</c:v>
                </c:pt>
                <c:pt idx="139">
                  <c:v>13591</c:v>
                </c:pt>
                <c:pt idx="140">
                  <c:v>12901</c:v>
                </c:pt>
                <c:pt idx="141">
                  <c:v>12191</c:v>
                </c:pt>
                <c:pt idx="142">
                  <c:v>11826</c:v>
                </c:pt>
                <c:pt idx="143">
                  <c:v>11082</c:v>
                </c:pt>
                <c:pt idx="144">
                  <c:v>10248</c:v>
                </c:pt>
                <c:pt idx="145">
                  <c:v>9600</c:v>
                </c:pt>
                <c:pt idx="146">
                  <c:v>9145</c:v>
                </c:pt>
                <c:pt idx="147">
                  <c:v>8806</c:v>
                </c:pt>
                <c:pt idx="148">
                  <c:v>8626</c:v>
                </c:pt>
                <c:pt idx="149">
                  <c:v>8599</c:v>
                </c:pt>
                <c:pt idx="150">
                  <c:v>8517</c:v>
                </c:pt>
                <c:pt idx="151">
                  <c:v>8858</c:v>
                </c:pt>
                <c:pt idx="152">
                  <c:v>9497</c:v>
                </c:pt>
                <c:pt idx="153">
                  <c:v>10171</c:v>
                </c:pt>
                <c:pt idx="154">
                  <c:v>10731</c:v>
                </c:pt>
                <c:pt idx="155">
                  <c:v>11283</c:v>
                </c:pt>
                <c:pt idx="156">
                  <c:v>11669</c:v>
                </c:pt>
                <c:pt idx="157">
                  <c:v>12011</c:v>
                </c:pt>
                <c:pt idx="158">
                  <c:v>12201</c:v>
                </c:pt>
                <c:pt idx="159">
                  <c:v>12601</c:v>
                </c:pt>
                <c:pt idx="160">
                  <c:v>12934</c:v>
                </c:pt>
                <c:pt idx="161">
                  <c:v>13278</c:v>
                </c:pt>
                <c:pt idx="162">
                  <c:v>13302</c:v>
                </c:pt>
                <c:pt idx="163">
                  <c:v>13043</c:v>
                </c:pt>
                <c:pt idx="164">
                  <c:v>12489</c:v>
                </c:pt>
                <c:pt idx="165">
                  <c:v>11924</c:v>
                </c:pt>
                <c:pt idx="166">
                  <c:v>11603</c:v>
                </c:pt>
                <c:pt idx="167">
                  <c:v>109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86E-4708-BCDB-6961C0B70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5066056"/>
        <c:axId val="465064096"/>
      </c:lineChart>
      <c:catAx>
        <c:axId val="465066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64096"/>
        <c:crosses val="autoZero"/>
        <c:auto val="1"/>
        <c:lblAlgn val="ctr"/>
        <c:lblOffset val="100"/>
        <c:noMultiLvlLbl val="0"/>
      </c:catAx>
      <c:valAx>
        <c:axId val="465064096"/>
        <c:scaling>
          <c:orientation val="minMax"/>
          <c:max val="2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660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300" b="0" i="0" baseline="0" dirty="0">
                <a:effectLst/>
              </a:rPr>
              <a:t>ComEd Zone Hourly MW for July Week  </a:t>
            </a:r>
            <a:endParaRPr lang="en-US" sz="1300" dirty="0">
              <a:effectLst/>
            </a:endParaRPr>
          </a:p>
          <a:p>
            <a:pPr>
              <a:defRPr/>
            </a:pPr>
            <a:r>
              <a:rPr lang="en-US" sz="1300" b="0" i="0" baseline="0" dirty="0">
                <a:effectLst/>
              </a:rPr>
              <a:t>75% Zero-Emission Load</a:t>
            </a:r>
            <a:endParaRPr lang="en-US" sz="1300" dirty="0">
              <a:effectLst/>
            </a:endParaRPr>
          </a:p>
        </c:rich>
      </c:tx>
      <c:layout>
        <c:manualLayout>
          <c:xMode val="edge"/>
          <c:yMode val="edge"/>
          <c:x val="0.17589275456858727"/>
          <c:y val="1.11045435945145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u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B$2:$B$169</c:f>
              <c:numCache>
                <c:formatCode>#,##0</c:formatCode>
                <c:ptCount val="168"/>
                <c:pt idx="0">
                  <c:v>10052</c:v>
                </c:pt>
                <c:pt idx="1">
                  <c:v>10048</c:v>
                </c:pt>
                <c:pt idx="2">
                  <c:v>10065</c:v>
                </c:pt>
                <c:pt idx="3">
                  <c:v>10064</c:v>
                </c:pt>
                <c:pt idx="4">
                  <c:v>10067</c:v>
                </c:pt>
                <c:pt idx="5">
                  <c:v>10073</c:v>
                </c:pt>
                <c:pt idx="6">
                  <c:v>10066</c:v>
                </c:pt>
                <c:pt idx="7">
                  <c:v>10065</c:v>
                </c:pt>
                <c:pt idx="8">
                  <c:v>10064</c:v>
                </c:pt>
                <c:pt idx="9">
                  <c:v>10065</c:v>
                </c:pt>
                <c:pt idx="10">
                  <c:v>10061</c:v>
                </c:pt>
                <c:pt idx="11">
                  <c:v>10054</c:v>
                </c:pt>
                <c:pt idx="12">
                  <c:v>10043</c:v>
                </c:pt>
                <c:pt idx="13">
                  <c:v>10040</c:v>
                </c:pt>
                <c:pt idx="14">
                  <c:v>10037</c:v>
                </c:pt>
                <c:pt idx="15">
                  <c:v>10049</c:v>
                </c:pt>
                <c:pt idx="16">
                  <c:v>10046</c:v>
                </c:pt>
                <c:pt idx="17">
                  <c:v>10056</c:v>
                </c:pt>
                <c:pt idx="18">
                  <c:v>10048</c:v>
                </c:pt>
                <c:pt idx="19">
                  <c:v>10060</c:v>
                </c:pt>
                <c:pt idx="20">
                  <c:v>10068</c:v>
                </c:pt>
                <c:pt idx="21">
                  <c:v>10073</c:v>
                </c:pt>
                <c:pt idx="22">
                  <c:v>10080</c:v>
                </c:pt>
                <c:pt idx="23">
                  <c:v>10081</c:v>
                </c:pt>
                <c:pt idx="24">
                  <c:v>10086</c:v>
                </c:pt>
                <c:pt idx="25">
                  <c:v>10091</c:v>
                </c:pt>
                <c:pt idx="26">
                  <c:v>10102</c:v>
                </c:pt>
                <c:pt idx="27">
                  <c:v>10105</c:v>
                </c:pt>
                <c:pt idx="28">
                  <c:v>10111</c:v>
                </c:pt>
                <c:pt idx="29">
                  <c:v>10105</c:v>
                </c:pt>
                <c:pt idx="30">
                  <c:v>10112</c:v>
                </c:pt>
                <c:pt idx="31">
                  <c:v>10121</c:v>
                </c:pt>
                <c:pt idx="32">
                  <c:v>10113</c:v>
                </c:pt>
                <c:pt idx="33">
                  <c:v>10117</c:v>
                </c:pt>
                <c:pt idx="34">
                  <c:v>10106</c:v>
                </c:pt>
                <c:pt idx="35">
                  <c:v>10105</c:v>
                </c:pt>
                <c:pt idx="36">
                  <c:v>10095</c:v>
                </c:pt>
                <c:pt idx="37">
                  <c:v>10081</c:v>
                </c:pt>
                <c:pt idx="38">
                  <c:v>10078</c:v>
                </c:pt>
                <c:pt idx="39">
                  <c:v>10071</c:v>
                </c:pt>
                <c:pt idx="40">
                  <c:v>10062</c:v>
                </c:pt>
                <c:pt idx="41">
                  <c:v>10061</c:v>
                </c:pt>
                <c:pt idx="42">
                  <c:v>10051</c:v>
                </c:pt>
                <c:pt idx="43">
                  <c:v>10049</c:v>
                </c:pt>
                <c:pt idx="44">
                  <c:v>10048</c:v>
                </c:pt>
                <c:pt idx="45">
                  <c:v>10050</c:v>
                </c:pt>
                <c:pt idx="46">
                  <c:v>10050</c:v>
                </c:pt>
                <c:pt idx="47">
                  <c:v>10052</c:v>
                </c:pt>
                <c:pt idx="48">
                  <c:v>10026</c:v>
                </c:pt>
                <c:pt idx="49">
                  <c:v>10036</c:v>
                </c:pt>
                <c:pt idx="50">
                  <c:v>10040</c:v>
                </c:pt>
                <c:pt idx="51">
                  <c:v>10047</c:v>
                </c:pt>
                <c:pt idx="52">
                  <c:v>10048</c:v>
                </c:pt>
                <c:pt idx="53">
                  <c:v>10069</c:v>
                </c:pt>
                <c:pt idx="54">
                  <c:v>10087</c:v>
                </c:pt>
                <c:pt idx="55">
                  <c:v>10082</c:v>
                </c:pt>
                <c:pt idx="56">
                  <c:v>10081</c:v>
                </c:pt>
                <c:pt idx="57">
                  <c:v>10071</c:v>
                </c:pt>
                <c:pt idx="58">
                  <c:v>10059</c:v>
                </c:pt>
                <c:pt idx="59">
                  <c:v>10052</c:v>
                </c:pt>
                <c:pt idx="60">
                  <c:v>10049</c:v>
                </c:pt>
                <c:pt idx="61">
                  <c:v>10044</c:v>
                </c:pt>
                <c:pt idx="62">
                  <c:v>10040</c:v>
                </c:pt>
                <c:pt idx="63">
                  <c:v>10024</c:v>
                </c:pt>
                <c:pt idx="64">
                  <c:v>10022</c:v>
                </c:pt>
                <c:pt idx="65">
                  <c:v>10015</c:v>
                </c:pt>
                <c:pt idx="66">
                  <c:v>10010</c:v>
                </c:pt>
                <c:pt idx="67">
                  <c:v>10016</c:v>
                </c:pt>
                <c:pt idx="68">
                  <c:v>10013</c:v>
                </c:pt>
                <c:pt idx="69">
                  <c:v>10017</c:v>
                </c:pt>
                <c:pt idx="70">
                  <c:v>10022</c:v>
                </c:pt>
                <c:pt idx="71">
                  <c:v>10019</c:v>
                </c:pt>
                <c:pt idx="72">
                  <c:v>10020</c:v>
                </c:pt>
                <c:pt idx="73">
                  <c:v>10026</c:v>
                </c:pt>
                <c:pt idx="74">
                  <c:v>10031</c:v>
                </c:pt>
                <c:pt idx="75">
                  <c:v>10029</c:v>
                </c:pt>
                <c:pt idx="76">
                  <c:v>10027</c:v>
                </c:pt>
                <c:pt idx="77">
                  <c:v>10027</c:v>
                </c:pt>
                <c:pt idx="78">
                  <c:v>10026</c:v>
                </c:pt>
                <c:pt idx="79">
                  <c:v>10023</c:v>
                </c:pt>
                <c:pt idx="80">
                  <c:v>10015</c:v>
                </c:pt>
                <c:pt idx="81">
                  <c:v>10015</c:v>
                </c:pt>
                <c:pt idx="82">
                  <c:v>10010</c:v>
                </c:pt>
                <c:pt idx="83">
                  <c:v>10011</c:v>
                </c:pt>
                <c:pt idx="84">
                  <c:v>9998</c:v>
                </c:pt>
                <c:pt idx="85">
                  <c:v>10004</c:v>
                </c:pt>
                <c:pt idx="86">
                  <c:v>10001</c:v>
                </c:pt>
                <c:pt idx="87">
                  <c:v>10002</c:v>
                </c:pt>
                <c:pt idx="88">
                  <c:v>9991</c:v>
                </c:pt>
                <c:pt idx="89">
                  <c:v>9987</c:v>
                </c:pt>
                <c:pt idx="90">
                  <c:v>10000</c:v>
                </c:pt>
                <c:pt idx="91">
                  <c:v>10000</c:v>
                </c:pt>
                <c:pt idx="92">
                  <c:v>10010</c:v>
                </c:pt>
                <c:pt idx="93">
                  <c:v>10016</c:v>
                </c:pt>
                <c:pt idx="94">
                  <c:v>10023</c:v>
                </c:pt>
                <c:pt idx="95">
                  <c:v>10028</c:v>
                </c:pt>
                <c:pt idx="96">
                  <c:v>10031</c:v>
                </c:pt>
                <c:pt idx="97">
                  <c:v>10032</c:v>
                </c:pt>
                <c:pt idx="98">
                  <c:v>10031</c:v>
                </c:pt>
                <c:pt idx="99">
                  <c:v>10040</c:v>
                </c:pt>
                <c:pt idx="100">
                  <c:v>10024</c:v>
                </c:pt>
                <c:pt idx="101">
                  <c:v>10034</c:v>
                </c:pt>
                <c:pt idx="102">
                  <c:v>10032</c:v>
                </c:pt>
                <c:pt idx="103">
                  <c:v>10031</c:v>
                </c:pt>
                <c:pt idx="104">
                  <c:v>10028</c:v>
                </c:pt>
                <c:pt idx="105">
                  <c:v>10020</c:v>
                </c:pt>
                <c:pt idx="106">
                  <c:v>10012</c:v>
                </c:pt>
                <c:pt idx="107">
                  <c:v>10010</c:v>
                </c:pt>
                <c:pt idx="108">
                  <c:v>10006</c:v>
                </c:pt>
                <c:pt idx="109">
                  <c:v>10000</c:v>
                </c:pt>
                <c:pt idx="110">
                  <c:v>9991</c:v>
                </c:pt>
                <c:pt idx="111">
                  <c:v>9994</c:v>
                </c:pt>
                <c:pt idx="112">
                  <c:v>9997</c:v>
                </c:pt>
                <c:pt idx="113">
                  <c:v>9999</c:v>
                </c:pt>
                <c:pt idx="114">
                  <c:v>10003</c:v>
                </c:pt>
                <c:pt idx="115">
                  <c:v>10002</c:v>
                </c:pt>
                <c:pt idx="116">
                  <c:v>10000</c:v>
                </c:pt>
                <c:pt idx="117">
                  <c:v>10006</c:v>
                </c:pt>
                <c:pt idx="118">
                  <c:v>10024</c:v>
                </c:pt>
                <c:pt idx="119">
                  <c:v>10028</c:v>
                </c:pt>
                <c:pt idx="120">
                  <c:v>10035</c:v>
                </c:pt>
                <c:pt idx="121">
                  <c:v>10035</c:v>
                </c:pt>
                <c:pt idx="122">
                  <c:v>10052</c:v>
                </c:pt>
                <c:pt idx="123">
                  <c:v>9979</c:v>
                </c:pt>
                <c:pt idx="124">
                  <c:v>10015</c:v>
                </c:pt>
                <c:pt idx="125">
                  <c:v>10068</c:v>
                </c:pt>
                <c:pt idx="126">
                  <c:v>10074</c:v>
                </c:pt>
                <c:pt idx="127">
                  <c:v>10083</c:v>
                </c:pt>
                <c:pt idx="128">
                  <c:v>10087</c:v>
                </c:pt>
                <c:pt idx="129">
                  <c:v>10087</c:v>
                </c:pt>
                <c:pt idx="130">
                  <c:v>10093</c:v>
                </c:pt>
                <c:pt idx="131">
                  <c:v>10083</c:v>
                </c:pt>
                <c:pt idx="132">
                  <c:v>10079</c:v>
                </c:pt>
                <c:pt idx="133">
                  <c:v>10074</c:v>
                </c:pt>
                <c:pt idx="134">
                  <c:v>10074</c:v>
                </c:pt>
                <c:pt idx="135">
                  <c:v>10079</c:v>
                </c:pt>
                <c:pt idx="136">
                  <c:v>10071</c:v>
                </c:pt>
                <c:pt idx="137">
                  <c:v>10074</c:v>
                </c:pt>
                <c:pt idx="138">
                  <c:v>10075</c:v>
                </c:pt>
                <c:pt idx="139">
                  <c:v>10077</c:v>
                </c:pt>
                <c:pt idx="140">
                  <c:v>10083</c:v>
                </c:pt>
                <c:pt idx="141">
                  <c:v>10090</c:v>
                </c:pt>
                <c:pt idx="142">
                  <c:v>10096</c:v>
                </c:pt>
                <c:pt idx="143">
                  <c:v>10101</c:v>
                </c:pt>
                <c:pt idx="144">
                  <c:v>10107</c:v>
                </c:pt>
                <c:pt idx="145">
                  <c:v>10113</c:v>
                </c:pt>
                <c:pt idx="146">
                  <c:v>10120</c:v>
                </c:pt>
                <c:pt idx="147">
                  <c:v>10123</c:v>
                </c:pt>
                <c:pt idx="148">
                  <c:v>10124</c:v>
                </c:pt>
                <c:pt idx="149">
                  <c:v>10128</c:v>
                </c:pt>
                <c:pt idx="150">
                  <c:v>10128</c:v>
                </c:pt>
                <c:pt idx="151">
                  <c:v>10133</c:v>
                </c:pt>
                <c:pt idx="152">
                  <c:v>10133</c:v>
                </c:pt>
                <c:pt idx="153">
                  <c:v>10130</c:v>
                </c:pt>
                <c:pt idx="154">
                  <c:v>10123</c:v>
                </c:pt>
                <c:pt idx="155">
                  <c:v>10117</c:v>
                </c:pt>
                <c:pt idx="156">
                  <c:v>10119</c:v>
                </c:pt>
                <c:pt idx="157">
                  <c:v>10108</c:v>
                </c:pt>
                <c:pt idx="158">
                  <c:v>10106</c:v>
                </c:pt>
                <c:pt idx="159">
                  <c:v>10102</c:v>
                </c:pt>
                <c:pt idx="160">
                  <c:v>10097</c:v>
                </c:pt>
                <c:pt idx="161">
                  <c:v>10097</c:v>
                </c:pt>
                <c:pt idx="162">
                  <c:v>10089</c:v>
                </c:pt>
                <c:pt idx="163">
                  <c:v>10089</c:v>
                </c:pt>
                <c:pt idx="164">
                  <c:v>10025</c:v>
                </c:pt>
                <c:pt idx="165">
                  <c:v>9935</c:v>
                </c:pt>
                <c:pt idx="166">
                  <c:v>9942</c:v>
                </c:pt>
                <c:pt idx="167">
                  <c:v>9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6E-4708-BCDB-6961C0B70A8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88000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C$2:$C$169</c:f>
              <c:numCache>
                <c:formatCode>#,##0</c:formatCode>
                <c:ptCount val="168"/>
                <c:pt idx="0">
                  <c:v>600</c:v>
                </c:pt>
                <c:pt idx="1">
                  <c:v>600</c:v>
                </c:pt>
                <c:pt idx="2">
                  <c:v>600</c:v>
                </c:pt>
                <c:pt idx="3">
                  <c:v>600</c:v>
                </c:pt>
                <c:pt idx="4">
                  <c:v>600</c:v>
                </c:pt>
                <c:pt idx="5">
                  <c:v>600</c:v>
                </c:pt>
                <c:pt idx="6">
                  <c:v>600</c:v>
                </c:pt>
                <c:pt idx="7">
                  <c:v>600</c:v>
                </c:pt>
                <c:pt idx="8">
                  <c:v>600</c:v>
                </c:pt>
                <c:pt idx="9">
                  <c:v>600</c:v>
                </c:pt>
                <c:pt idx="10">
                  <c:v>600</c:v>
                </c:pt>
                <c:pt idx="11">
                  <c:v>600</c:v>
                </c:pt>
                <c:pt idx="12">
                  <c:v>600</c:v>
                </c:pt>
                <c:pt idx="13">
                  <c:v>600</c:v>
                </c:pt>
                <c:pt idx="14">
                  <c:v>600</c:v>
                </c:pt>
                <c:pt idx="15">
                  <c:v>600</c:v>
                </c:pt>
                <c:pt idx="16">
                  <c:v>600</c:v>
                </c:pt>
                <c:pt idx="17">
                  <c:v>600</c:v>
                </c:pt>
                <c:pt idx="18">
                  <c:v>600</c:v>
                </c:pt>
                <c:pt idx="19">
                  <c:v>600</c:v>
                </c:pt>
                <c:pt idx="20">
                  <c:v>600</c:v>
                </c:pt>
                <c:pt idx="21">
                  <c:v>600</c:v>
                </c:pt>
                <c:pt idx="22">
                  <c:v>600</c:v>
                </c:pt>
                <c:pt idx="23">
                  <c:v>600</c:v>
                </c:pt>
                <c:pt idx="24">
                  <c:v>600</c:v>
                </c:pt>
                <c:pt idx="25">
                  <c:v>600</c:v>
                </c:pt>
                <c:pt idx="26">
                  <c:v>600</c:v>
                </c:pt>
                <c:pt idx="27">
                  <c:v>600</c:v>
                </c:pt>
                <c:pt idx="28">
                  <c:v>600</c:v>
                </c:pt>
                <c:pt idx="29">
                  <c:v>600</c:v>
                </c:pt>
                <c:pt idx="30">
                  <c:v>600</c:v>
                </c:pt>
                <c:pt idx="31">
                  <c:v>600</c:v>
                </c:pt>
                <c:pt idx="32">
                  <c:v>600</c:v>
                </c:pt>
                <c:pt idx="33">
                  <c:v>600</c:v>
                </c:pt>
                <c:pt idx="34">
                  <c:v>600</c:v>
                </c:pt>
                <c:pt idx="35">
                  <c:v>600</c:v>
                </c:pt>
                <c:pt idx="36">
                  <c:v>600</c:v>
                </c:pt>
                <c:pt idx="37">
                  <c:v>600</c:v>
                </c:pt>
                <c:pt idx="38">
                  <c:v>600</c:v>
                </c:pt>
                <c:pt idx="39">
                  <c:v>600</c:v>
                </c:pt>
                <c:pt idx="40">
                  <c:v>600</c:v>
                </c:pt>
                <c:pt idx="41">
                  <c:v>600</c:v>
                </c:pt>
                <c:pt idx="42">
                  <c:v>600</c:v>
                </c:pt>
                <c:pt idx="43">
                  <c:v>600</c:v>
                </c:pt>
                <c:pt idx="44">
                  <c:v>600</c:v>
                </c:pt>
                <c:pt idx="45">
                  <c:v>600</c:v>
                </c:pt>
                <c:pt idx="46">
                  <c:v>600</c:v>
                </c:pt>
                <c:pt idx="47">
                  <c:v>600</c:v>
                </c:pt>
                <c:pt idx="48">
                  <c:v>600</c:v>
                </c:pt>
                <c:pt idx="49">
                  <c:v>600</c:v>
                </c:pt>
                <c:pt idx="50">
                  <c:v>600</c:v>
                </c:pt>
                <c:pt idx="51">
                  <c:v>600</c:v>
                </c:pt>
                <c:pt idx="52">
                  <c:v>600</c:v>
                </c:pt>
                <c:pt idx="53">
                  <c:v>600</c:v>
                </c:pt>
                <c:pt idx="54">
                  <c:v>600</c:v>
                </c:pt>
                <c:pt idx="55">
                  <c:v>600</c:v>
                </c:pt>
                <c:pt idx="56">
                  <c:v>600</c:v>
                </c:pt>
                <c:pt idx="57">
                  <c:v>600</c:v>
                </c:pt>
                <c:pt idx="58">
                  <c:v>600</c:v>
                </c:pt>
                <c:pt idx="59">
                  <c:v>600</c:v>
                </c:pt>
                <c:pt idx="60">
                  <c:v>600</c:v>
                </c:pt>
                <c:pt idx="61">
                  <c:v>600</c:v>
                </c:pt>
                <c:pt idx="62">
                  <c:v>600</c:v>
                </c:pt>
                <c:pt idx="63">
                  <c:v>600</c:v>
                </c:pt>
                <c:pt idx="64">
                  <c:v>600</c:v>
                </c:pt>
                <c:pt idx="65">
                  <c:v>600</c:v>
                </c:pt>
                <c:pt idx="66">
                  <c:v>600</c:v>
                </c:pt>
                <c:pt idx="67">
                  <c:v>600</c:v>
                </c:pt>
                <c:pt idx="68">
                  <c:v>600</c:v>
                </c:pt>
                <c:pt idx="69">
                  <c:v>600</c:v>
                </c:pt>
                <c:pt idx="70">
                  <c:v>600</c:v>
                </c:pt>
                <c:pt idx="71">
                  <c:v>600</c:v>
                </c:pt>
                <c:pt idx="72">
                  <c:v>600</c:v>
                </c:pt>
                <c:pt idx="73">
                  <c:v>600</c:v>
                </c:pt>
                <c:pt idx="74">
                  <c:v>600</c:v>
                </c:pt>
                <c:pt idx="75">
                  <c:v>600</c:v>
                </c:pt>
                <c:pt idx="76">
                  <c:v>600</c:v>
                </c:pt>
                <c:pt idx="77">
                  <c:v>600</c:v>
                </c:pt>
                <c:pt idx="78">
                  <c:v>600</c:v>
                </c:pt>
                <c:pt idx="79">
                  <c:v>600</c:v>
                </c:pt>
                <c:pt idx="80">
                  <c:v>600</c:v>
                </c:pt>
                <c:pt idx="81">
                  <c:v>600</c:v>
                </c:pt>
                <c:pt idx="82">
                  <c:v>600</c:v>
                </c:pt>
                <c:pt idx="83">
                  <c:v>600</c:v>
                </c:pt>
                <c:pt idx="84">
                  <c:v>600</c:v>
                </c:pt>
                <c:pt idx="85">
                  <c:v>600</c:v>
                </c:pt>
                <c:pt idx="86">
                  <c:v>600</c:v>
                </c:pt>
                <c:pt idx="87">
                  <c:v>600</c:v>
                </c:pt>
                <c:pt idx="88">
                  <c:v>600</c:v>
                </c:pt>
                <c:pt idx="89">
                  <c:v>600</c:v>
                </c:pt>
                <c:pt idx="90">
                  <c:v>600</c:v>
                </c:pt>
                <c:pt idx="91">
                  <c:v>600</c:v>
                </c:pt>
                <c:pt idx="92">
                  <c:v>600</c:v>
                </c:pt>
                <c:pt idx="93">
                  <c:v>600</c:v>
                </c:pt>
                <c:pt idx="94">
                  <c:v>600</c:v>
                </c:pt>
                <c:pt idx="95">
                  <c:v>600</c:v>
                </c:pt>
                <c:pt idx="96">
                  <c:v>600</c:v>
                </c:pt>
                <c:pt idx="97">
                  <c:v>600</c:v>
                </c:pt>
                <c:pt idx="98">
                  <c:v>600</c:v>
                </c:pt>
                <c:pt idx="99">
                  <c:v>600</c:v>
                </c:pt>
                <c:pt idx="100">
                  <c:v>600</c:v>
                </c:pt>
                <c:pt idx="101">
                  <c:v>600</c:v>
                </c:pt>
                <c:pt idx="102">
                  <c:v>600</c:v>
                </c:pt>
                <c:pt idx="103">
                  <c:v>600</c:v>
                </c:pt>
                <c:pt idx="104">
                  <c:v>600</c:v>
                </c:pt>
                <c:pt idx="105">
                  <c:v>600</c:v>
                </c:pt>
                <c:pt idx="106">
                  <c:v>600</c:v>
                </c:pt>
                <c:pt idx="107">
                  <c:v>600</c:v>
                </c:pt>
                <c:pt idx="108">
                  <c:v>600</c:v>
                </c:pt>
                <c:pt idx="109">
                  <c:v>600</c:v>
                </c:pt>
                <c:pt idx="110">
                  <c:v>600</c:v>
                </c:pt>
                <c:pt idx="111">
                  <c:v>600</c:v>
                </c:pt>
                <c:pt idx="112">
                  <c:v>600</c:v>
                </c:pt>
                <c:pt idx="113">
                  <c:v>600</c:v>
                </c:pt>
                <c:pt idx="114">
                  <c:v>600</c:v>
                </c:pt>
                <c:pt idx="115">
                  <c:v>600</c:v>
                </c:pt>
                <c:pt idx="116">
                  <c:v>600</c:v>
                </c:pt>
                <c:pt idx="117">
                  <c:v>600</c:v>
                </c:pt>
                <c:pt idx="118">
                  <c:v>600</c:v>
                </c:pt>
                <c:pt idx="119">
                  <c:v>600</c:v>
                </c:pt>
                <c:pt idx="120">
                  <c:v>600</c:v>
                </c:pt>
                <c:pt idx="121">
                  <c:v>600</c:v>
                </c:pt>
                <c:pt idx="122">
                  <c:v>600</c:v>
                </c:pt>
                <c:pt idx="123">
                  <c:v>600</c:v>
                </c:pt>
                <c:pt idx="124">
                  <c:v>600</c:v>
                </c:pt>
                <c:pt idx="125">
                  <c:v>600</c:v>
                </c:pt>
                <c:pt idx="126">
                  <c:v>600</c:v>
                </c:pt>
                <c:pt idx="127">
                  <c:v>600</c:v>
                </c:pt>
                <c:pt idx="128">
                  <c:v>600</c:v>
                </c:pt>
                <c:pt idx="129">
                  <c:v>600</c:v>
                </c:pt>
                <c:pt idx="130">
                  <c:v>600</c:v>
                </c:pt>
                <c:pt idx="131">
                  <c:v>600</c:v>
                </c:pt>
                <c:pt idx="132">
                  <c:v>600</c:v>
                </c:pt>
                <c:pt idx="133">
                  <c:v>600</c:v>
                </c:pt>
                <c:pt idx="134">
                  <c:v>600</c:v>
                </c:pt>
                <c:pt idx="135">
                  <c:v>600</c:v>
                </c:pt>
                <c:pt idx="136">
                  <c:v>600</c:v>
                </c:pt>
                <c:pt idx="137">
                  <c:v>600</c:v>
                </c:pt>
                <c:pt idx="138">
                  <c:v>600</c:v>
                </c:pt>
                <c:pt idx="139">
                  <c:v>600</c:v>
                </c:pt>
                <c:pt idx="140">
                  <c:v>600</c:v>
                </c:pt>
                <c:pt idx="141">
                  <c:v>600</c:v>
                </c:pt>
                <c:pt idx="142">
                  <c:v>600</c:v>
                </c:pt>
                <c:pt idx="143">
                  <c:v>600</c:v>
                </c:pt>
                <c:pt idx="144">
                  <c:v>600</c:v>
                </c:pt>
                <c:pt idx="145">
                  <c:v>600</c:v>
                </c:pt>
                <c:pt idx="146">
                  <c:v>600</c:v>
                </c:pt>
                <c:pt idx="147">
                  <c:v>600</c:v>
                </c:pt>
                <c:pt idx="148">
                  <c:v>600</c:v>
                </c:pt>
                <c:pt idx="149">
                  <c:v>600</c:v>
                </c:pt>
                <c:pt idx="150">
                  <c:v>600</c:v>
                </c:pt>
                <c:pt idx="151">
                  <c:v>600</c:v>
                </c:pt>
                <c:pt idx="152">
                  <c:v>600</c:v>
                </c:pt>
                <c:pt idx="153">
                  <c:v>600</c:v>
                </c:pt>
                <c:pt idx="154">
                  <c:v>600</c:v>
                </c:pt>
                <c:pt idx="155">
                  <c:v>600</c:v>
                </c:pt>
                <c:pt idx="156">
                  <c:v>600</c:v>
                </c:pt>
                <c:pt idx="157">
                  <c:v>600</c:v>
                </c:pt>
                <c:pt idx="158">
                  <c:v>600</c:v>
                </c:pt>
                <c:pt idx="159">
                  <c:v>600</c:v>
                </c:pt>
                <c:pt idx="160">
                  <c:v>600</c:v>
                </c:pt>
                <c:pt idx="161">
                  <c:v>600</c:v>
                </c:pt>
                <c:pt idx="162">
                  <c:v>600</c:v>
                </c:pt>
                <c:pt idx="163">
                  <c:v>600</c:v>
                </c:pt>
                <c:pt idx="164">
                  <c:v>600</c:v>
                </c:pt>
                <c:pt idx="165">
                  <c:v>600</c:v>
                </c:pt>
                <c:pt idx="166">
                  <c:v>600</c:v>
                </c:pt>
                <c:pt idx="167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6E-4708-BCDB-6961C0B70A8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xisting Wind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D$2:$D$169</c:f>
              <c:numCache>
                <c:formatCode>#,##0</c:formatCode>
                <c:ptCount val="168"/>
                <c:pt idx="0">
                  <c:v>1635</c:v>
                </c:pt>
                <c:pt idx="1">
                  <c:v>1515</c:v>
                </c:pt>
                <c:pt idx="2">
                  <c:v>1282</c:v>
                </c:pt>
                <c:pt idx="3">
                  <c:v>1182</c:v>
                </c:pt>
                <c:pt idx="4">
                  <c:v>1041</c:v>
                </c:pt>
                <c:pt idx="5">
                  <c:v>983</c:v>
                </c:pt>
                <c:pt idx="6">
                  <c:v>1114</c:v>
                </c:pt>
                <c:pt idx="7">
                  <c:v>1313</c:v>
                </c:pt>
                <c:pt idx="8">
                  <c:v>1142</c:v>
                </c:pt>
                <c:pt idx="9">
                  <c:v>1267</c:v>
                </c:pt>
                <c:pt idx="10">
                  <c:v>1531</c:v>
                </c:pt>
                <c:pt idx="11">
                  <c:v>1592</c:v>
                </c:pt>
                <c:pt idx="12">
                  <c:v>1841</c:v>
                </c:pt>
                <c:pt idx="13">
                  <c:v>2201</c:v>
                </c:pt>
                <c:pt idx="14">
                  <c:v>2389</c:v>
                </c:pt>
                <c:pt idx="15">
                  <c:v>2509</c:v>
                </c:pt>
                <c:pt idx="16">
                  <c:v>2187</c:v>
                </c:pt>
                <c:pt idx="17">
                  <c:v>1748</c:v>
                </c:pt>
                <c:pt idx="18">
                  <c:v>1273</c:v>
                </c:pt>
                <c:pt idx="19">
                  <c:v>660</c:v>
                </c:pt>
                <c:pt idx="20">
                  <c:v>276</c:v>
                </c:pt>
                <c:pt idx="21">
                  <c:v>423</c:v>
                </c:pt>
                <c:pt idx="22">
                  <c:v>549</c:v>
                </c:pt>
                <c:pt idx="23">
                  <c:v>660</c:v>
                </c:pt>
                <c:pt idx="24">
                  <c:v>619</c:v>
                </c:pt>
                <c:pt idx="25">
                  <c:v>589</c:v>
                </c:pt>
                <c:pt idx="26">
                  <c:v>608</c:v>
                </c:pt>
                <c:pt idx="27">
                  <c:v>620</c:v>
                </c:pt>
                <c:pt idx="28">
                  <c:v>590</c:v>
                </c:pt>
                <c:pt idx="29">
                  <c:v>551</c:v>
                </c:pt>
                <c:pt idx="30">
                  <c:v>427</c:v>
                </c:pt>
                <c:pt idx="31">
                  <c:v>338</c:v>
                </c:pt>
                <c:pt idx="32">
                  <c:v>128</c:v>
                </c:pt>
                <c:pt idx="33">
                  <c:v>39</c:v>
                </c:pt>
                <c:pt idx="34">
                  <c:v>12</c:v>
                </c:pt>
                <c:pt idx="35">
                  <c:v>-1</c:v>
                </c:pt>
                <c:pt idx="36">
                  <c:v>-5</c:v>
                </c:pt>
                <c:pt idx="37">
                  <c:v>-3</c:v>
                </c:pt>
                <c:pt idx="38">
                  <c:v>-3</c:v>
                </c:pt>
                <c:pt idx="39">
                  <c:v>-3</c:v>
                </c:pt>
                <c:pt idx="40">
                  <c:v>-4</c:v>
                </c:pt>
                <c:pt idx="41">
                  <c:v>-6</c:v>
                </c:pt>
                <c:pt idx="42">
                  <c:v>-6</c:v>
                </c:pt>
                <c:pt idx="43">
                  <c:v>-2</c:v>
                </c:pt>
                <c:pt idx="44">
                  <c:v>29</c:v>
                </c:pt>
                <c:pt idx="45">
                  <c:v>125</c:v>
                </c:pt>
                <c:pt idx="46">
                  <c:v>279</c:v>
                </c:pt>
                <c:pt idx="47">
                  <c:v>437</c:v>
                </c:pt>
                <c:pt idx="48">
                  <c:v>495</c:v>
                </c:pt>
                <c:pt idx="49">
                  <c:v>751</c:v>
                </c:pt>
                <c:pt idx="50">
                  <c:v>669</c:v>
                </c:pt>
                <c:pt idx="51">
                  <c:v>672</c:v>
                </c:pt>
                <c:pt idx="52">
                  <c:v>703</c:v>
                </c:pt>
                <c:pt idx="53">
                  <c:v>626</c:v>
                </c:pt>
                <c:pt idx="54">
                  <c:v>431</c:v>
                </c:pt>
                <c:pt idx="55">
                  <c:v>261</c:v>
                </c:pt>
                <c:pt idx="56" formatCode="General">
                  <c:v>209</c:v>
                </c:pt>
                <c:pt idx="57">
                  <c:v>111</c:v>
                </c:pt>
                <c:pt idx="58">
                  <c:v>53</c:v>
                </c:pt>
                <c:pt idx="59" formatCode="General">
                  <c:v>25</c:v>
                </c:pt>
                <c:pt idx="60">
                  <c:v>71</c:v>
                </c:pt>
                <c:pt idx="61">
                  <c:v>103</c:v>
                </c:pt>
                <c:pt idx="62" formatCode="General">
                  <c:v>140</c:v>
                </c:pt>
                <c:pt idx="63" formatCode="General">
                  <c:v>94</c:v>
                </c:pt>
                <c:pt idx="64" formatCode="General">
                  <c:v>105</c:v>
                </c:pt>
                <c:pt idx="65" formatCode="General">
                  <c:v>148</c:v>
                </c:pt>
                <c:pt idx="66" formatCode="General">
                  <c:v>147</c:v>
                </c:pt>
                <c:pt idx="67" formatCode="General">
                  <c:v>175</c:v>
                </c:pt>
                <c:pt idx="68">
                  <c:v>112</c:v>
                </c:pt>
                <c:pt idx="69">
                  <c:v>157</c:v>
                </c:pt>
                <c:pt idx="70">
                  <c:v>210</c:v>
                </c:pt>
                <c:pt idx="71">
                  <c:v>505</c:v>
                </c:pt>
                <c:pt idx="72">
                  <c:v>671</c:v>
                </c:pt>
                <c:pt idx="73">
                  <c:v>543</c:v>
                </c:pt>
                <c:pt idx="74">
                  <c:v>497</c:v>
                </c:pt>
                <c:pt idx="75">
                  <c:v>398</c:v>
                </c:pt>
                <c:pt idx="76">
                  <c:v>336</c:v>
                </c:pt>
                <c:pt idx="77">
                  <c:v>335</c:v>
                </c:pt>
                <c:pt idx="78">
                  <c:v>413</c:v>
                </c:pt>
                <c:pt idx="79">
                  <c:v>386</c:v>
                </c:pt>
                <c:pt idx="80">
                  <c:v>187</c:v>
                </c:pt>
                <c:pt idx="81">
                  <c:v>102</c:v>
                </c:pt>
                <c:pt idx="82">
                  <c:v>63</c:v>
                </c:pt>
                <c:pt idx="83">
                  <c:v>123</c:v>
                </c:pt>
                <c:pt idx="84">
                  <c:v>168</c:v>
                </c:pt>
                <c:pt idx="85">
                  <c:v>160</c:v>
                </c:pt>
                <c:pt idx="86">
                  <c:v>176</c:v>
                </c:pt>
                <c:pt idx="87">
                  <c:v>153</c:v>
                </c:pt>
                <c:pt idx="88">
                  <c:v>193</c:v>
                </c:pt>
                <c:pt idx="89">
                  <c:v>270</c:v>
                </c:pt>
                <c:pt idx="90">
                  <c:v>312</c:v>
                </c:pt>
                <c:pt idx="91">
                  <c:v>316</c:v>
                </c:pt>
                <c:pt idx="92">
                  <c:v>278</c:v>
                </c:pt>
                <c:pt idx="93">
                  <c:v>476</c:v>
                </c:pt>
                <c:pt idx="94">
                  <c:v>423</c:v>
                </c:pt>
                <c:pt idx="95">
                  <c:v>454</c:v>
                </c:pt>
                <c:pt idx="96">
                  <c:v>162</c:v>
                </c:pt>
                <c:pt idx="97">
                  <c:v>167</c:v>
                </c:pt>
                <c:pt idx="98">
                  <c:v>258</c:v>
                </c:pt>
                <c:pt idx="99">
                  <c:v>259</c:v>
                </c:pt>
                <c:pt idx="100" formatCode="General">
                  <c:v>273</c:v>
                </c:pt>
                <c:pt idx="101" formatCode="General">
                  <c:v>312</c:v>
                </c:pt>
                <c:pt idx="102" formatCode="General">
                  <c:v>360</c:v>
                </c:pt>
                <c:pt idx="103" formatCode="General">
                  <c:v>550</c:v>
                </c:pt>
                <c:pt idx="104" formatCode="General">
                  <c:v>451</c:v>
                </c:pt>
                <c:pt idx="105" formatCode="General">
                  <c:v>117</c:v>
                </c:pt>
                <c:pt idx="106" formatCode="General">
                  <c:v>72</c:v>
                </c:pt>
                <c:pt idx="107" formatCode="General">
                  <c:v>50</c:v>
                </c:pt>
                <c:pt idx="108" formatCode="General">
                  <c:v>103</c:v>
                </c:pt>
                <c:pt idx="109" formatCode="General">
                  <c:v>296</c:v>
                </c:pt>
                <c:pt idx="110" formatCode="General">
                  <c:v>650</c:v>
                </c:pt>
                <c:pt idx="111">
                  <c:v>537</c:v>
                </c:pt>
                <c:pt idx="112">
                  <c:v>308</c:v>
                </c:pt>
                <c:pt idx="113">
                  <c:v>269</c:v>
                </c:pt>
                <c:pt idx="114">
                  <c:v>309</c:v>
                </c:pt>
                <c:pt idx="115">
                  <c:v>254</c:v>
                </c:pt>
                <c:pt idx="116">
                  <c:v>362</c:v>
                </c:pt>
                <c:pt idx="117">
                  <c:v>345</c:v>
                </c:pt>
                <c:pt idx="118">
                  <c:v>445</c:v>
                </c:pt>
                <c:pt idx="119">
                  <c:v>584</c:v>
                </c:pt>
                <c:pt idx="120">
                  <c:v>800</c:v>
                </c:pt>
                <c:pt idx="121">
                  <c:v>929</c:v>
                </c:pt>
                <c:pt idx="122">
                  <c:v>1148</c:v>
                </c:pt>
                <c:pt idx="123">
                  <c:v>1182</c:v>
                </c:pt>
                <c:pt idx="124">
                  <c:v>1129</c:v>
                </c:pt>
                <c:pt idx="125">
                  <c:v>1207</c:v>
                </c:pt>
                <c:pt idx="126">
                  <c:v>1420</c:v>
                </c:pt>
                <c:pt idx="127">
                  <c:v>1550</c:v>
                </c:pt>
                <c:pt idx="128">
                  <c:v>1588</c:v>
                </c:pt>
                <c:pt idx="129">
                  <c:v>1810</c:v>
                </c:pt>
                <c:pt idx="130">
                  <c:v>1819</c:v>
                </c:pt>
                <c:pt idx="131">
                  <c:v>1518</c:v>
                </c:pt>
                <c:pt idx="132">
                  <c:v>1140</c:v>
                </c:pt>
                <c:pt idx="133" formatCode="General">
                  <c:v>815</c:v>
                </c:pt>
                <c:pt idx="134" formatCode="General">
                  <c:v>658</c:v>
                </c:pt>
                <c:pt idx="135" formatCode="General">
                  <c:v>629</c:v>
                </c:pt>
                <c:pt idx="136" formatCode="General">
                  <c:v>615</c:v>
                </c:pt>
                <c:pt idx="137" formatCode="General">
                  <c:v>749</c:v>
                </c:pt>
                <c:pt idx="138" formatCode="General">
                  <c:v>881</c:v>
                </c:pt>
                <c:pt idx="139" formatCode="General">
                  <c:v>881</c:v>
                </c:pt>
                <c:pt idx="140" formatCode="General">
                  <c:v>746</c:v>
                </c:pt>
                <c:pt idx="141">
                  <c:v>1031</c:v>
                </c:pt>
                <c:pt idx="142">
                  <c:v>1230</c:v>
                </c:pt>
                <c:pt idx="143">
                  <c:v>1378</c:v>
                </c:pt>
                <c:pt idx="144">
                  <c:v>1338</c:v>
                </c:pt>
                <c:pt idx="145">
                  <c:v>1366</c:v>
                </c:pt>
                <c:pt idx="146">
                  <c:v>1479</c:v>
                </c:pt>
                <c:pt idx="147">
                  <c:v>1387</c:v>
                </c:pt>
                <c:pt idx="148">
                  <c:v>1311</c:v>
                </c:pt>
                <c:pt idx="149">
                  <c:v>1285</c:v>
                </c:pt>
                <c:pt idx="150">
                  <c:v>1275</c:v>
                </c:pt>
                <c:pt idx="151">
                  <c:v>1233</c:v>
                </c:pt>
                <c:pt idx="152">
                  <c:v>903</c:v>
                </c:pt>
                <c:pt idx="153">
                  <c:v>356</c:v>
                </c:pt>
                <c:pt idx="154">
                  <c:v>195</c:v>
                </c:pt>
                <c:pt idx="155">
                  <c:v>110</c:v>
                </c:pt>
                <c:pt idx="156">
                  <c:v>114</c:v>
                </c:pt>
                <c:pt idx="157">
                  <c:v>157</c:v>
                </c:pt>
                <c:pt idx="158">
                  <c:v>120</c:v>
                </c:pt>
                <c:pt idx="159">
                  <c:v>102</c:v>
                </c:pt>
                <c:pt idx="160">
                  <c:v>77</c:v>
                </c:pt>
                <c:pt idx="161">
                  <c:v>63</c:v>
                </c:pt>
                <c:pt idx="162">
                  <c:v>66</c:v>
                </c:pt>
                <c:pt idx="163">
                  <c:v>93</c:v>
                </c:pt>
                <c:pt idx="164">
                  <c:v>100</c:v>
                </c:pt>
                <c:pt idx="165">
                  <c:v>142</c:v>
                </c:pt>
                <c:pt idx="166">
                  <c:v>219</c:v>
                </c:pt>
                <c:pt idx="167">
                  <c:v>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86E-4708-BCDB-6961C0B70A8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E$2:$E$169</c:f>
              <c:numCache>
                <c:formatCode>General</c:formatCode>
                <c:ptCount val="168"/>
              </c:numCache>
            </c:numRef>
          </c:val>
          <c:extLst>
            <c:ext xmlns:c16="http://schemas.microsoft.com/office/drawing/2014/chart" uri="{C3380CC4-5D6E-409C-BE32-E72D297353CC}">
              <c16:uniqueId val="{00000003-686E-4708-BCDB-6961C0B70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5069584"/>
        <c:axId val="465067232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Load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Sheet1!$A$2:$A$169</c:f>
              <c:strCache>
                <c:ptCount val="145"/>
                <c:pt idx="0">
                  <c:v>Sunday</c:v>
                </c:pt>
                <c:pt idx="24">
                  <c:v>Monday</c:v>
                </c:pt>
                <c:pt idx="48">
                  <c:v>Tuesday</c:v>
                </c:pt>
                <c:pt idx="72">
                  <c:v>Wednesday</c:v>
                </c:pt>
                <c:pt idx="96">
                  <c:v>Thursday</c:v>
                </c:pt>
                <c:pt idx="120">
                  <c:v>Friday</c:v>
                </c:pt>
                <c:pt idx="144">
                  <c:v>Saturday</c:v>
                </c:pt>
              </c:strCache>
            </c:strRef>
          </c:cat>
          <c:val>
            <c:numRef>
              <c:f>Sheet1!$F$2:$F$169</c:f>
              <c:numCache>
                <c:formatCode>#,##0</c:formatCode>
                <c:ptCount val="168"/>
                <c:pt idx="0">
                  <c:v>15466</c:v>
                </c:pt>
                <c:pt idx="1">
                  <c:v>14452</c:v>
                </c:pt>
                <c:pt idx="2">
                  <c:v>13586</c:v>
                </c:pt>
                <c:pt idx="3">
                  <c:v>12906</c:v>
                </c:pt>
                <c:pt idx="4">
                  <c:v>12416</c:v>
                </c:pt>
                <c:pt idx="5">
                  <c:v>12100</c:v>
                </c:pt>
                <c:pt idx="6">
                  <c:v>11849</c:v>
                </c:pt>
                <c:pt idx="7">
                  <c:v>11960</c:v>
                </c:pt>
                <c:pt idx="8">
                  <c:v>12831</c:v>
                </c:pt>
                <c:pt idx="9">
                  <c:v>14181</c:v>
                </c:pt>
                <c:pt idx="10">
                  <c:v>15384</c:v>
                </c:pt>
                <c:pt idx="11">
                  <c:v>16494</c:v>
                </c:pt>
                <c:pt idx="12">
                  <c:v>17475</c:v>
                </c:pt>
                <c:pt idx="13">
                  <c:v>18150</c:v>
                </c:pt>
                <c:pt idx="14">
                  <c:v>18634</c:v>
                </c:pt>
                <c:pt idx="15">
                  <c:v>18932</c:v>
                </c:pt>
                <c:pt idx="16">
                  <c:v>18910</c:v>
                </c:pt>
                <c:pt idx="17">
                  <c:v>18056</c:v>
                </c:pt>
                <c:pt idx="18">
                  <c:v>16710</c:v>
                </c:pt>
                <c:pt idx="19">
                  <c:v>15828</c:v>
                </c:pt>
                <c:pt idx="20">
                  <c:v>15320</c:v>
                </c:pt>
                <c:pt idx="21">
                  <c:v>14969</c:v>
                </c:pt>
                <c:pt idx="22">
                  <c:v>14812</c:v>
                </c:pt>
                <c:pt idx="23">
                  <c:v>14068</c:v>
                </c:pt>
                <c:pt idx="24">
                  <c:v>13134</c:v>
                </c:pt>
                <c:pt idx="25">
                  <c:v>12278</c:v>
                </c:pt>
                <c:pt idx="26">
                  <c:v>11616</c:v>
                </c:pt>
                <c:pt idx="27">
                  <c:v>11131</c:v>
                </c:pt>
                <c:pt idx="28">
                  <c:v>10787</c:v>
                </c:pt>
                <c:pt idx="29">
                  <c:v>10806</c:v>
                </c:pt>
                <c:pt idx="30">
                  <c:v>11065</c:v>
                </c:pt>
                <c:pt idx="31">
                  <c:v>11846</c:v>
                </c:pt>
                <c:pt idx="32">
                  <c:v>13042</c:v>
                </c:pt>
                <c:pt idx="33">
                  <c:v>13947</c:v>
                </c:pt>
                <c:pt idx="34">
                  <c:v>14665</c:v>
                </c:pt>
                <c:pt idx="35">
                  <c:v>15322</c:v>
                </c:pt>
                <c:pt idx="36">
                  <c:v>15786</c:v>
                </c:pt>
                <c:pt idx="37">
                  <c:v>16229</c:v>
                </c:pt>
                <c:pt idx="38">
                  <c:v>16689</c:v>
                </c:pt>
                <c:pt idx="39">
                  <c:v>17072</c:v>
                </c:pt>
                <c:pt idx="40">
                  <c:v>17356</c:v>
                </c:pt>
                <c:pt idx="41">
                  <c:v>17486</c:v>
                </c:pt>
                <c:pt idx="42">
                  <c:v>17413</c:v>
                </c:pt>
                <c:pt idx="43">
                  <c:v>16872</c:v>
                </c:pt>
                <c:pt idx="44">
                  <c:v>15962</c:v>
                </c:pt>
                <c:pt idx="45">
                  <c:v>14964</c:v>
                </c:pt>
                <c:pt idx="46">
                  <c:v>14266</c:v>
                </c:pt>
                <c:pt idx="47">
                  <c:v>13017</c:v>
                </c:pt>
                <c:pt idx="48">
                  <c:v>11743</c:v>
                </c:pt>
                <c:pt idx="49">
                  <c:v>10727</c:v>
                </c:pt>
                <c:pt idx="50">
                  <c:v>10103</c:v>
                </c:pt>
                <c:pt idx="51">
                  <c:v>9653</c:v>
                </c:pt>
                <c:pt idx="52">
                  <c:v>9461</c:v>
                </c:pt>
                <c:pt idx="53">
                  <c:v>9557</c:v>
                </c:pt>
                <c:pt idx="54">
                  <c:v>9977</c:v>
                </c:pt>
                <c:pt idx="55">
                  <c:v>10947</c:v>
                </c:pt>
                <c:pt idx="56">
                  <c:v>12122</c:v>
                </c:pt>
                <c:pt idx="57">
                  <c:v>13286</c:v>
                </c:pt>
                <c:pt idx="58">
                  <c:v>14392</c:v>
                </c:pt>
                <c:pt idx="59">
                  <c:v>15475</c:v>
                </c:pt>
                <c:pt idx="60">
                  <c:v>16418</c:v>
                </c:pt>
                <c:pt idx="61">
                  <c:v>17310</c:v>
                </c:pt>
                <c:pt idx="62">
                  <c:v>18058</c:v>
                </c:pt>
                <c:pt idx="63">
                  <c:v>18493</c:v>
                </c:pt>
                <c:pt idx="64">
                  <c:v>18765</c:v>
                </c:pt>
                <c:pt idx="65">
                  <c:v>19005</c:v>
                </c:pt>
                <c:pt idx="66">
                  <c:v>18939</c:v>
                </c:pt>
                <c:pt idx="67">
                  <c:v>18329</c:v>
                </c:pt>
                <c:pt idx="68">
                  <c:v>17483</c:v>
                </c:pt>
                <c:pt idx="69">
                  <c:v>16798</c:v>
                </c:pt>
                <c:pt idx="70">
                  <c:v>16263</c:v>
                </c:pt>
                <c:pt idx="71">
                  <c:v>15221</c:v>
                </c:pt>
                <c:pt idx="72">
                  <c:v>14124</c:v>
                </c:pt>
                <c:pt idx="73">
                  <c:v>13088</c:v>
                </c:pt>
                <c:pt idx="74">
                  <c:v>12394</c:v>
                </c:pt>
                <c:pt idx="75">
                  <c:v>11815</c:v>
                </c:pt>
                <c:pt idx="76">
                  <c:v>11435</c:v>
                </c:pt>
                <c:pt idx="77">
                  <c:v>11185</c:v>
                </c:pt>
                <c:pt idx="78">
                  <c:v>11026</c:v>
                </c:pt>
                <c:pt idx="79">
                  <c:v>11339</c:v>
                </c:pt>
                <c:pt idx="80">
                  <c:v>12267</c:v>
                </c:pt>
                <c:pt idx="81">
                  <c:v>13470</c:v>
                </c:pt>
                <c:pt idx="82">
                  <c:v>14834</c:v>
                </c:pt>
                <c:pt idx="83">
                  <c:v>16089</c:v>
                </c:pt>
                <c:pt idx="84">
                  <c:v>16914</c:v>
                </c:pt>
                <c:pt idx="85">
                  <c:v>17377</c:v>
                </c:pt>
                <c:pt idx="86">
                  <c:v>17818</c:v>
                </c:pt>
                <c:pt idx="87">
                  <c:v>17984</c:v>
                </c:pt>
                <c:pt idx="88">
                  <c:v>18022</c:v>
                </c:pt>
                <c:pt idx="89">
                  <c:v>17834</c:v>
                </c:pt>
                <c:pt idx="90">
                  <c:v>17700</c:v>
                </c:pt>
                <c:pt idx="91">
                  <c:v>17134</c:v>
                </c:pt>
                <c:pt idx="92">
                  <c:v>16366</c:v>
                </c:pt>
                <c:pt idx="93">
                  <c:v>15949</c:v>
                </c:pt>
                <c:pt idx="94">
                  <c:v>15347</c:v>
                </c:pt>
                <c:pt idx="95">
                  <c:v>14424</c:v>
                </c:pt>
                <c:pt idx="96">
                  <c:v>13453</c:v>
                </c:pt>
                <c:pt idx="97">
                  <c:v>12563</c:v>
                </c:pt>
                <c:pt idx="98">
                  <c:v>11827</c:v>
                </c:pt>
                <c:pt idx="99">
                  <c:v>11304</c:v>
                </c:pt>
                <c:pt idx="100">
                  <c:v>11086</c:v>
                </c:pt>
                <c:pt idx="101">
                  <c:v>11141</c:v>
                </c:pt>
                <c:pt idx="102">
                  <c:v>11533</c:v>
                </c:pt>
                <c:pt idx="103">
                  <c:v>12568</c:v>
                </c:pt>
                <c:pt idx="104">
                  <c:v>14001</c:v>
                </c:pt>
                <c:pt idx="105">
                  <c:v>15430</c:v>
                </c:pt>
                <c:pt idx="106">
                  <c:v>16806</c:v>
                </c:pt>
                <c:pt idx="107">
                  <c:v>18005</c:v>
                </c:pt>
                <c:pt idx="108">
                  <c:v>18952</c:v>
                </c:pt>
                <c:pt idx="109">
                  <c:v>19537</c:v>
                </c:pt>
                <c:pt idx="110">
                  <c:v>19495</c:v>
                </c:pt>
                <c:pt idx="111">
                  <c:v>18233</c:v>
                </c:pt>
                <c:pt idx="112">
                  <c:v>17396</c:v>
                </c:pt>
                <c:pt idx="113">
                  <c:v>17073</c:v>
                </c:pt>
                <c:pt idx="114">
                  <c:v>16817</c:v>
                </c:pt>
                <c:pt idx="115">
                  <c:v>16380</c:v>
                </c:pt>
                <c:pt idx="116">
                  <c:v>16111</c:v>
                </c:pt>
                <c:pt idx="117">
                  <c:v>15687</c:v>
                </c:pt>
                <c:pt idx="118">
                  <c:v>15356</c:v>
                </c:pt>
                <c:pt idx="119">
                  <c:v>14335</c:v>
                </c:pt>
                <c:pt idx="120">
                  <c:v>13178</c:v>
                </c:pt>
                <c:pt idx="121">
                  <c:v>12136</c:v>
                </c:pt>
                <c:pt idx="122">
                  <c:v>11304</c:v>
                </c:pt>
                <c:pt idx="123">
                  <c:v>10677</c:v>
                </c:pt>
                <c:pt idx="124">
                  <c:v>10317</c:v>
                </c:pt>
                <c:pt idx="125">
                  <c:v>10275</c:v>
                </c:pt>
                <c:pt idx="126">
                  <c:v>10455</c:v>
                </c:pt>
                <c:pt idx="127">
                  <c:v>11248</c:v>
                </c:pt>
                <c:pt idx="128">
                  <c:v>12290</c:v>
                </c:pt>
                <c:pt idx="129">
                  <c:v>13029</c:v>
                </c:pt>
                <c:pt idx="130">
                  <c:v>13513</c:v>
                </c:pt>
                <c:pt idx="131">
                  <c:v>13875</c:v>
                </c:pt>
                <c:pt idx="132">
                  <c:v>13973</c:v>
                </c:pt>
                <c:pt idx="133">
                  <c:v>14025</c:v>
                </c:pt>
                <c:pt idx="134">
                  <c:v>14201</c:v>
                </c:pt>
                <c:pt idx="135">
                  <c:v>14286</c:v>
                </c:pt>
                <c:pt idx="136">
                  <c:v>14381</c:v>
                </c:pt>
                <c:pt idx="137">
                  <c:v>14375</c:v>
                </c:pt>
                <c:pt idx="138">
                  <c:v>14183</c:v>
                </c:pt>
                <c:pt idx="139">
                  <c:v>13591</c:v>
                </c:pt>
                <c:pt idx="140">
                  <c:v>12901</c:v>
                </c:pt>
                <c:pt idx="141">
                  <c:v>12191</c:v>
                </c:pt>
                <c:pt idx="142">
                  <c:v>11826</c:v>
                </c:pt>
                <c:pt idx="143">
                  <c:v>11082</c:v>
                </c:pt>
                <c:pt idx="144">
                  <c:v>10248</c:v>
                </c:pt>
                <c:pt idx="145">
                  <c:v>9600</c:v>
                </c:pt>
                <c:pt idx="146">
                  <c:v>9145</c:v>
                </c:pt>
                <c:pt idx="147">
                  <c:v>8806</c:v>
                </c:pt>
                <c:pt idx="148">
                  <c:v>8626</c:v>
                </c:pt>
                <c:pt idx="149">
                  <c:v>8599</c:v>
                </c:pt>
                <c:pt idx="150">
                  <c:v>8517</c:v>
                </c:pt>
                <c:pt idx="151">
                  <c:v>8858</c:v>
                </c:pt>
                <c:pt idx="152">
                  <c:v>9497</c:v>
                </c:pt>
                <c:pt idx="153">
                  <c:v>10171</c:v>
                </c:pt>
                <c:pt idx="154">
                  <c:v>10731</c:v>
                </c:pt>
                <c:pt idx="155">
                  <c:v>11283</c:v>
                </c:pt>
                <c:pt idx="156">
                  <c:v>11669</c:v>
                </c:pt>
                <c:pt idx="157">
                  <c:v>12011</c:v>
                </c:pt>
                <c:pt idx="158">
                  <c:v>12201</c:v>
                </c:pt>
                <c:pt idx="159">
                  <c:v>12601</c:v>
                </c:pt>
                <c:pt idx="160">
                  <c:v>12934</c:v>
                </c:pt>
                <c:pt idx="161">
                  <c:v>13278</c:v>
                </c:pt>
                <c:pt idx="162">
                  <c:v>13302</c:v>
                </c:pt>
                <c:pt idx="163">
                  <c:v>13043</c:v>
                </c:pt>
                <c:pt idx="164">
                  <c:v>12489</c:v>
                </c:pt>
                <c:pt idx="165">
                  <c:v>11924</c:v>
                </c:pt>
                <c:pt idx="166">
                  <c:v>11603</c:v>
                </c:pt>
                <c:pt idx="167">
                  <c:v>109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86E-4708-BCDB-6961C0B70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5069584"/>
        <c:axId val="465067232"/>
      </c:lineChart>
      <c:catAx>
        <c:axId val="46506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67232"/>
        <c:crosses val="autoZero"/>
        <c:auto val="1"/>
        <c:lblAlgn val="ctr"/>
        <c:lblOffset val="100"/>
        <c:noMultiLvlLbl val="0"/>
      </c:catAx>
      <c:valAx>
        <c:axId val="465067232"/>
        <c:scaling>
          <c:orientation val="minMax"/>
          <c:max val="2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5069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2081</cdr:x>
      <cdr:y>0.69834</cdr:y>
    </cdr:from>
    <cdr:to>
      <cdr:x>0.94302</cdr:x>
      <cdr:y>0.9233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141309" y="2838053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en-US" sz="1200" dirty="0"/>
            <a:t>Paris Goal:</a:t>
          </a:r>
        </a:p>
        <a:p xmlns:a="http://schemas.openxmlformats.org/drawingml/2006/main">
          <a:pPr algn="ctr"/>
          <a:r>
            <a:rPr lang="en-US" sz="1200" dirty="0"/>
            <a:t>26% reduction from</a:t>
          </a:r>
        </a:p>
        <a:p xmlns:a="http://schemas.openxmlformats.org/drawingml/2006/main">
          <a:pPr algn="ctr"/>
          <a:r>
            <a:rPr lang="en-US" sz="1200" dirty="0"/>
            <a:t>2005 levels by 2025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8824</cdr:x>
      <cdr:y>0.36145</cdr:y>
    </cdr:from>
    <cdr:to>
      <cdr:x>0.77871</cdr:x>
      <cdr:y>0.91252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523999" y="1468922"/>
          <a:ext cx="493495" cy="22395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dirty="0"/>
            <a:t>Fossil gen</a:t>
          </a:r>
        </a:p>
        <a:p xmlns:a="http://schemas.openxmlformats.org/drawingml/2006/main">
          <a:pPr algn="ctr"/>
          <a:endParaRPr lang="en-US" sz="1100" dirty="0"/>
        </a:p>
        <a:p xmlns:a="http://schemas.openxmlformats.org/drawingml/2006/main">
          <a:pPr algn="ctr"/>
          <a:endParaRPr lang="en-US" dirty="0"/>
        </a:p>
        <a:p xmlns:a="http://schemas.openxmlformats.org/drawingml/2006/main">
          <a:pPr algn="ctr"/>
          <a:endParaRPr lang="en-US" sz="1100" dirty="0"/>
        </a:p>
        <a:p xmlns:a="http://schemas.openxmlformats.org/drawingml/2006/main">
          <a:pPr algn="ctr"/>
          <a:endParaRPr lang="en-US" dirty="0"/>
        </a:p>
        <a:p xmlns:a="http://schemas.openxmlformats.org/drawingml/2006/main">
          <a:pPr algn="ctr"/>
          <a:endParaRPr lang="en-US" sz="1100" dirty="0"/>
        </a:p>
        <a:p xmlns:a="http://schemas.openxmlformats.org/drawingml/2006/main">
          <a:pPr algn="ctr"/>
          <a:endParaRPr lang="en-US" dirty="0"/>
        </a:p>
        <a:p xmlns:a="http://schemas.openxmlformats.org/drawingml/2006/main">
          <a:pPr algn="ctr"/>
          <a:endParaRPr lang="en-US" sz="1100" dirty="0"/>
        </a:p>
        <a:p xmlns:a="http://schemas.openxmlformats.org/drawingml/2006/main">
          <a:pPr algn="ctr"/>
          <a:endParaRPr lang="en-US" sz="1100" dirty="0"/>
        </a:p>
        <a:p xmlns:a="http://schemas.openxmlformats.org/drawingml/2006/main">
          <a:pPr algn="ctr"/>
          <a:endParaRPr lang="en-US" sz="1100" dirty="0"/>
        </a:p>
        <a:p xmlns:a="http://schemas.openxmlformats.org/drawingml/2006/main">
          <a:pPr algn="ctr"/>
          <a:r>
            <a:rPr lang="en-US" sz="1400" dirty="0"/>
            <a:t>92%</a:t>
          </a:r>
          <a:endParaRPr lang="en-US" sz="1100" dirty="0"/>
        </a:p>
        <a:p xmlns:a="http://schemas.openxmlformats.org/drawingml/2006/main">
          <a:pPr algn="ctr"/>
          <a:endParaRPr lang="en-US" sz="1100" dirty="0"/>
        </a:p>
        <a:p xmlns:a="http://schemas.openxmlformats.org/drawingml/2006/main">
          <a:pPr algn="ctr"/>
          <a:endParaRPr lang="en-US" dirty="0"/>
        </a:p>
        <a:p xmlns:a="http://schemas.openxmlformats.org/drawingml/2006/main">
          <a:pPr algn="ctr"/>
          <a:endParaRPr lang="en-US" sz="1100" dirty="0"/>
        </a:p>
        <a:p xmlns:a="http://schemas.openxmlformats.org/drawingml/2006/main">
          <a:pPr algn="ctr"/>
          <a:endParaRPr lang="en-US" dirty="0"/>
        </a:p>
        <a:p xmlns:a="http://schemas.openxmlformats.org/drawingml/2006/main">
          <a:pPr algn="ctr"/>
          <a:endParaRPr lang="en-US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58824</cdr:x>
      <cdr:y>0.36145</cdr:y>
    </cdr:from>
    <cdr:to>
      <cdr:x>0.77871</cdr:x>
      <cdr:y>0.91252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523999" y="1468922"/>
          <a:ext cx="493495" cy="22395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dirty="0"/>
            <a:t>Fossil gen</a:t>
          </a:r>
        </a:p>
        <a:p xmlns:a="http://schemas.openxmlformats.org/drawingml/2006/main">
          <a:pPr algn="ctr"/>
          <a:endParaRPr lang="en-US" sz="1100" dirty="0"/>
        </a:p>
        <a:p xmlns:a="http://schemas.openxmlformats.org/drawingml/2006/main">
          <a:pPr algn="ctr"/>
          <a:endParaRPr lang="en-US" dirty="0"/>
        </a:p>
        <a:p xmlns:a="http://schemas.openxmlformats.org/drawingml/2006/main">
          <a:pPr algn="ctr"/>
          <a:endParaRPr lang="en-US" sz="1100" dirty="0"/>
        </a:p>
        <a:p xmlns:a="http://schemas.openxmlformats.org/drawingml/2006/main">
          <a:pPr algn="ctr"/>
          <a:endParaRPr lang="en-US" dirty="0"/>
        </a:p>
        <a:p xmlns:a="http://schemas.openxmlformats.org/drawingml/2006/main">
          <a:pPr algn="ctr"/>
          <a:endParaRPr lang="en-US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82453</cdr:x>
      <cdr:y>0.70921</cdr:y>
    </cdr:from>
    <cdr:to>
      <cdr:x>0.94674</cdr:x>
      <cdr:y>0.9342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602211" y="2882218"/>
          <a:ext cx="533911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r"/>
          <a:r>
            <a:rPr lang="en-US" sz="1200" dirty="0"/>
            <a:t>Paris Goal:</a:t>
          </a:r>
        </a:p>
        <a:p xmlns:a="http://schemas.openxmlformats.org/drawingml/2006/main">
          <a:pPr algn="r"/>
          <a:r>
            <a:rPr lang="en-US" sz="1200" dirty="0"/>
            <a:t>26% reduction from</a:t>
          </a:r>
        </a:p>
        <a:p xmlns:a="http://schemas.openxmlformats.org/drawingml/2006/main">
          <a:pPr algn="r"/>
          <a:r>
            <a:rPr lang="en-US" sz="1200" dirty="0"/>
            <a:t>2005 levels by 2025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82453</cdr:x>
      <cdr:y>0.70921</cdr:y>
    </cdr:from>
    <cdr:to>
      <cdr:x>0.94674</cdr:x>
      <cdr:y>0.9342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602211" y="2882218"/>
          <a:ext cx="533911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r"/>
          <a:r>
            <a:rPr lang="en-US" sz="1200" dirty="0"/>
            <a:t>Paris Goal:</a:t>
          </a:r>
        </a:p>
        <a:p xmlns:a="http://schemas.openxmlformats.org/drawingml/2006/main">
          <a:pPr algn="r"/>
          <a:r>
            <a:rPr lang="en-US" sz="1200" dirty="0"/>
            <a:t>26% reduction from</a:t>
          </a:r>
        </a:p>
        <a:p xmlns:a="http://schemas.openxmlformats.org/drawingml/2006/main">
          <a:pPr algn="r"/>
          <a:r>
            <a:rPr lang="en-US" sz="1200" dirty="0"/>
            <a:t>2005 levels by 2025</a:t>
          </a:r>
        </a:p>
      </cdr:txBody>
    </cdr:sp>
  </cdr:relSizeAnchor>
  <cdr:relSizeAnchor xmlns:cdr="http://schemas.openxmlformats.org/drawingml/2006/chartDrawing">
    <cdr:from>
      <cdr:x>0.53243</cdr:x>
      <cdr:y>0.19626</cdr:y>
    </cdr:from>
    <cdr:to>
      <cdr:x>0.6922</cdr:x>
      <cdr:y>0.42126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3047302" y="797596"/>
          <a:ext cx="914404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/>
            <a:t>40 </a:t>
          </a:r>
          <a:r>
            <a:rPr lang="en-US" dirty="0" err="1"/>
            <a:t>MMmt</a:t>
          </a:r>
          <a:endParaRPr lang="en-US" dirty="0"/>
        </a:p>
        <a:p xmlns:a="http://schemas.openxmlformats.org/drawingml/2006/main">
          <a:r>
            <a:rPr lang="en-US" dirty="0"/>
            <a:t>Replacement</a:t>
          </a:r>
        </a:p>
        <a:p xmlns:a="http://schemas.openxmlformats.org/drawingml/2006/main">
          <a:r>
            <a:rPr lang="en-US" sz="1100" dirty="0"/>
            <a:t>Emissions 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5486</cdr:x>
      <cdr:y>0.27696</cdr:y>
    </cdr:from>
    <cdr:to>
      <cdr:x>0.29994</cdr:x>
      <cdr:y>0.71638</cdr:y>
    </cdr:to>
    <cdr:sp macro="" textlink="">
      <cdr:nvSpPr>
        <cdr:cNvPr id="2" name="Left Brace 1"/>
        <cdr:cNvSpPr/>
      </cdr:nvSpPr>
      <cdr:spPr bwMode="auto">
        <a:xfrm xmlns:a="http://schemas.openxmlformats.org/drawingml/2006/main">
          <a:off x="1160540" y="1267951"/>
          <a:ext cx="205278" cy="2011680"/>
        </a:xfrm>
        <a:prstGeom xmlns:a="http://schemas.openxmlformats.org/drawingml/2006/main" prst="leftBrace">
          <a:avLst>
            <a:gd name="adj1" fmla="val 8333"/>
            <a:gd name="adj2" fmla="val 6682"/>
          </a:avLst>
        </a:prstGeom>
        <a:noFill xmlns:a="http://schemas.openxmlformats.org/drawingml/2006/main"/>
        <a:ln xmlns:a="http://schemas.openxmlformats.org/drawingml/2006/main"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vert="horz" wrap="square" lIns="91440" tIns="45720" rIns="91440" bIns="45720" numCol="1" rtlCol="0" anchor="t" anchorCtr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12652</cdr:x>
      <cdr:y>0.28633</cdr:y>
    </cdr:from>
    <cdr:to>
      <cdr:x>0.2509</cdr:x>
      <cdr:y>0.3684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576126" y="1310811"/>
          <a:ext cx="566382" cy="3759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000" b="1" dirty="0"/>
            <a:t>17 GW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6256</cdr:x>
      <cdr:y>0.3531</cdr:y>
    </cdr:from>
    <cdr:to>
      <cdr:x>0.2973</cdr:x>
      <cdr:y>0.66269</cdr:y>
    </cdr:to>
    <cdr:sp macro="" textlink="">
      <cdr:nvSpPr>
        <cdr:cNvPr id="2" name="Left Brace 1"/>
        <cdr:cNvSpPr/>
      </cdr:nvSpPr>
      <cdr:spPr bwMode="auto">
        <a:xfrm xmlns:a="http://schemas.openxmlformats.org/drawingml/2006/main">
          <a:off x="1245487" y="1616516"/>
          <a:ext cx="164796" cy="1417313"/>
        </a:xfrm>
        <a:prstGeom xmlns:a="http://schemas.openxmlformats.org/drawingml/2006/main" prst="leftBrace">
          <a:avLst>
            <a:gd name="adj1" fmla="val 0"/>
            <a:gd name="adj2" fmla="val 6682"/>
          </a:avLst>
        </a:prstGeom>
        <a:noFill xmlns:a="http://schemas.openxmlformats.org/drawingml/2006/main"/>
        <a:ln xmlns:a="http://schemas.openxmlformats.org/drawingml/2006/main" w="28575" cap="flat" cmpd="sng" algn="ctr">
          <a:solidFill>
            <a:srgbClr val="C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vert="horz" wrap="square" lIns="91440" tIns="45720" rIns="91440" bIns="45720" numCol="1" rtlCol="0" anchor="t" anchorCtr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14864</cdr:x>
      <cdr:y>0.33329</cdr:y>
    </cdr:from>
    <cdr:to>
      <cdr:x>0.24119</cdr:x>
      <cdr:y>0.5332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705080" y="1525809"/>
          <a:ext cx="439028" cy="9156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000" b="1" dirty="0"/>
            <a:t>12 GW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54559</cdr:x>
      <cdr:y>0.42067</cdr:y>
    </cdr:from>
    <cdr:to>
      <cdr:x>0.88726</cdr:x>
      <cdr:y>0.8443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48777" y="1428445"/>
          <a:ext cx="782039" cy="14385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dirty="0"/>
        </a:p>
        <a:p xmlns:a="http://schemas.openxmlformats.org/drawingml/2006/main">
          <a:endParaRPr lang="en-US" dirty="0"/>
        </a:p>
        <a:p xmlns:a="http://schemas.openxmlformats.org/drawingml/2006/main">
          <a:endParaRPr lang="en-US" sz="1100" dirty="0"/>
        </a:p>
        <a:p xmlns:a="http://schemas.openxmlformats.org/drawingml/2006/main">
          <a:endParaRPr lang="en-US" dirty="0"/>
        </a:p>
        <a:p xmlns:a="http://schemas.openxmlformats.org/drawingml/2006/main">
          <a:r>
            <a:rPr lang="en-US" sz="1100" dirty="0"/>
            <a:t>Electric</a:t>
          </a:r>
        </a:p>
        <a:p xmlns:a="http://schemas.openxmlformats.org/drawingml/2006/main">
          <a:r>
            <a:rPr lang="en-US" dirty="0"/>
            <a:t>Power</a:t>
          </a:r>
          <a:endParaRPr lang="en-US" sz="1100" dirty="0"/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54559</cdr:x>
      <cdr:y>0.42067</cdr:y>
    </cdr:from>
    <cdr:to>
      <cdr:x>0.88726</cdr:x>
      <cdr:y>0.8443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248777" y="1428445"/>
          <a:ext cx="782039" cy="14385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dirty="0"/>
            <a:t>Transport</a:t>
          </a:r>
        </a:p>
        <a:p xmlns:a="http://schemas.openxmlformats.org/drawingml/2006/main">
          <a:endParaRPr lang="en-US" dirty="0"/>
        </a:p>
        <a:p xmlns:a="http://schemas.openxmlformats.org/drawingml/2006/main">
          <a:endParaRPr lang="en-US" sz="1100" dirty="0"/>
        </a:p>
        <a:p xmlns:a="http://schemas.openxmlformats.org/drawingml/2006/main">
          <a:endParaRPr lang="en-US" dirty="0"/>
        </a:p>
        <a:p xmlns:a="http://schemas.openxmlformats.org/drawingml/2006/main">
          <a:r>
            <a:rPr lang="en-US" sz="1100" dirty="0"/>
            <a:t>Electric</a:t>
          </a:r>
        </a:p>
        <a:p xmlns:a="http://schemas.openxmlformats.org/drawingml/2006/main">
          <a:r>
            <a:rPr lang="en-US" dirty="0"/>
            <a:t>Power</a:t>
          </a:r>
          <a:endParaRPr lang="en-US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4" y="2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0AA235BF-6F38-4DE0-B687-1869AE1C08D0}" type="datetimeFigureOut">
              <a:rPr lang="en-US" smtClean="0"/>
              <a:t>5/2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4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75D4905C-AFF1-4952-8009-F56DF44CAD4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056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D4905C-AFF1-4952-8009-F56DF44CAD4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934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D4905C-AFF1-4952-8009-F56DF44CAD4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3511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D4905C-AFF1-4952-8009-F56DF44CAD4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5177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D4905C-AFF1-4952-8009-F56DF44CAD4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82749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D4905C-AFF1-4952-8009-F56DF44CAD4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D465C78B-59BE-4144-B182-F816D0C87E8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AFT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605438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D4905C-AFF1-4952-8009-F56DF44CAD4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2661900F-0160-4F4A-B1FC-3FD1D812470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AFT;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894460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D4905C-AFF1-4952-8009-F56DF44CAD4C}" type="slidenum">
              <a:rPr lang="en-US" smtClean="0"/>
              <a:t>7</a:t>
            </a:fld>
            <a:endParaRPr lang="en-US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B6506D48-DEB8-4580-9E53-A8E98B5A9C7F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r>
              <a:rPr lang="en-US"/>
              <a:t>DRAFT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619673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D4905C-AFF1-4952-8009-F56DF44CAD4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C1222860-E921-4273-94CD-E662B11D774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AFT; Confidential</a:t>
            </a:r>
          </a:p>
        </p:txBody>
      </p:sp>
    </p:spTree>
    <p:extLst>
      <p:ext uri="{BB962C8B-B14F-4D97-AF65-F5344CB8AC3E}">
        <p14:creationId xmlns:p14="http://schemas.microsoft.com/office/powerpoint/2010/main" val="742187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 descr="ComEd_cover_RED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38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70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4038600" y="2819400"/>
            <a:ext cx="4191000" cy="12192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400">
                <a:solidFill>
                  <a:srgbClr val="666666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ctrTitle"/>
          </p:nvPr>
        </p:nvSpPr>
        <p:spPr>
          <a:xfrm>
            <a:off x="3505200" y="1524000"/>
            <a:ext cx="4953000" cy="1143000"/>
          </a:xfrm>
        </p:spPr>
        <p:txBody>
          <a:bodyPr/>
          <a:lstStyle>
            <a:lvl1pPr>
              <a:defRPr sz="2800">
                <a:solidFill>
                  <a:srgbClr val="66666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84886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solidFill>
                <a:srgbClr val="FFFFFF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955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l" fontAlgn="auto">
              <a:spcAft>
                <a:spcPts val="0"/>
              </a:spcAft>
              <a:defRPr sz="1800"/>
            </a:lvl1pPr>
          </a:lstStyle>
          <a:p>
            <a:fld id="{56E43DB1-2D29-4A00-9A3E-4E0A1F07E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4720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l" fontAlgn="auto">
              <a:spcAft>
                <a:spcPts val="0"/>
              </a:spcAft>
              <a:defRPr sz="1800"/>
            </a:lvl1pPr>
          </a:lstStyle>
          <a:p>
            <a:fld id="{56E43DB1-2D29-4A00-9A3E-4E0A1F07E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8312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7772400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42900" y="990600"/>
            <a:ext cx="8458200" cy="4876800"/>
          </a:xfrm>
        </p:spPr>
        <p:txBody>
          <a:bodyPr/>
          <a:lstStyle/>
          <a:p>
            <a:pPr lvl="0"/>
            <a:r>
              <a:rPr lang="en-US" noProof="0" dirty="0"/>
              <a:t>Click icon to add tab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l" fontAlgn="auto">
              <a:spcAft>
                <a:spcPts val="0"/>
              </a:spcAft>
              <a:defRPr sz="1800"/>
            </a:lvl1pPr>
          </a:lstStyle>
          <a:p>
            <a:fld id="{56E43DB1-2D29-4A00-9A3E-4E0A1F07E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2015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llustrative Renewable Energy Targ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15363" y="0"/>
            <a:ext cx="533400" cy="609600"/>
          </a:xfrm>
        </p:spPr>
        <p:txBody>
          <a:bodyPr/>
          <a:lstStyle>
            <a:lvl1pPr algn="l" fontAlgn="auto">
              <a:spcAft>
                <a:spcPts val="0"/>
              </a:spcAft>
              <a:defRPr sz="1800"/>
            </a:lvl1pPr>
          </a:lstStyle>
          <a:p>
            <a:fld id="{56E43DB1-2D29-4A00-9A3E-4E0A1F07E6C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168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omEd_INT_cover-wh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114300" y="302895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157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38600" y="2819400"/>
            <a:ext cx="4191000" cy="12192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400">
                <a:solidFill>
                  <a:schemeClr val="tx1"/>
                </a:solidFill>
                <a:latin typeface="Franklin Gothic Demi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5716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505200" y="1524000"/>
            <a:ext cx="4953000" cy="1143000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121901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  <a:p>
            <a:pPr>
              <a:defRPr/>
            </a:pPr>
            <a:fld id="{31F0E3C7-3954-4334-B1FE-16066B0E7E8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9784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3538" y="570016"/>
            <a:ext cx="8412162" cy="15864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63538" y="903514"/>
            <a:ext cx="8412162" cy="540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738188" y="6624638"/>
            <a:ext cx="7099300" cy="2127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solidFill>
                  <a:srgbClr val="000000"/>
                </a:solidFill>
                <a:latin typeface="Times New Roman" pitchFamily="18" charset="0"/>
              </a:rPr>
              <a:t>Confidential And Proprietary.  For Exelon Internal Discussion Purposes Only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363538" y="6624638"/>
            <a:ext cx="342900" cy="2127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D83A58-2C87-4201-9095-8C5510C248F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7069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63538" y="903514"/>
            <a:ext cx="8412162" cy="540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0869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E9AB012-8BD0-4425-B5AF-673C61951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32127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E9AB012-8BD0-4425-B5AF-673C61951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E080817-606C-4FAB-B8D8-2B4D41B46D61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DE48B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en-US" sz="2400" b="0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26" name="Picture 10" descr="ComEd_INT_page2-wht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5363" y="0"/>
            <a:ext cx="533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defRPr sz="1400"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fld id="{56E43DB1-2D29-4A00-9A3E-4E0A1F07E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9307" y="914400"/>
            <a:ext cx="8656093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0"/>
            <a:ext cx="8229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 bwMode="auto">
          <a:xfrm>
            <a:off x="6019800" y="5943600"/>
            <a:ext cx="3048000" cy="838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457200" indent="-403225" algn="ctr">
              <a:buFont typeface="Arial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13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5" r:id="rId2"/>
    <p:sldLayoutId id="2147483666" r:id="rId3"/>
    <p:sldLayoutId id="2147483671" r:id="rId4"/>
    <p:sldLayoutId id="2147483672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C33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C3300"/>
          </a:solidFill>
          <a:latin typeface="Arial Black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C3300"/>
          </a:solidFill>
          <a:latin typeface="Arial Black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C3300"/>
          </a:solidFill>
          <a:latin typeface="Arial Black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C3300"/>
          </a:solidFill>
          <a:latin typeface="Arial Black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C3300"/>
          </a:solidFill>
          <a:latin typeface="Arial Black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C3300"/>
          </a:solidFill>
          <a:latin typeface="Arial Black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C3300"/>
          </a:solidFill>
          <a:latin typeface="Arial Black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CC3300"/>
          </a:solidFill>
          <a:latin typeface="Arial Black" pitchFamily="34" charset="0"/>
        </a:defRPr>
      </a:lvl9pPr>
    </p:titleStyle>
    <p:bodyStyle>
      <a:lvl1pPr marL="231775" indent="-231775" algn="l" rtl="0" eaLnBrk="1" fontAlgn="base" hangingPunct="1">
        <a:spcBef>
          <a:spcPts val="0"/>
        </a:spcBef>
        <a:spcAft>
          <a:spcPts val="600"/>
        </a:spcAft>
        <a:buFont typeface="Wingdings" panose="05000000000000000000" pitchFamily="2" charset="2"/>
        <a:buChar char="ü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463550" indent="-231775" algn="l" rtl="0" eaLnBrk="1" fontAlgn="base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682625" indent="-219075" algn="l" rtl="0" eaLnBrk="1" fontAlgn="base" hangingPunct="1">
        <a:spcBef>
          <a:spcPts val="0"/>
        </a:spcBef>
        <a:spcAft>
          <a:spcPts val="600"/>
        </a:spcAft>
        <a:buSzPct val="130000"/>
        <a:buFont typeface="Courier New" panose="02070309020205020404" pitchFamily="49" charset="0"/>
        <a:buChar char="o"/>
        <a:defRPr sz="2000">
          <a:solidFill>
            <a:schemeClr val="tx1"/>
          </a:solidFill>
          <a:latin typeface="+mn-lt"/>
        </a:defRPr>
      </a:lvl3pPr>
      <a:lvl4pPr marL="914400" indent="-231775" algn="l" rtl="0" eaLnBrk="1" fontAlgn="base" hangingPunct="1">
        <a:spcBef>
          <a:spcPct val="20000"/>
        </a:spcBef>
        <a:spcAft>
          <a:spcPct val="0"/>
        </a:spcAft>
        <a:buChar char="o"/>
        <a:defRPr>
          <a:solidFill>
            <a:schemeClr val="tx1"/>
          </a:solidFill>
          <a:latin typeface="+mn-lt"/>
        </a:defRPr>
      </a:lvl4pPr>
      <a:lvl5pPr marL="1146175" indent="-2317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rgbClr val="CC3300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rgbClr val="CC3300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rgbClr val="CC3300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rgbClr val="CC33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D4705F3-5762-4692-A724-21C876C6A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26168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D4705F3-5762-4692-A724-21C876C6A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50286CA-8F2A-4226-8000-5750305B0D70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Franklin Gothic Demi" panose="020B0703020102020204" pitchFamily="34" charset="0"/>
              <a:ea typeface="+mj-ea"/>
              <a:cs typeface="+mj-cs"/>
              <a:sym typeface="Franklin Gothic Demi" panose="020B0703020102020204" pitchFamily="34" charset="0"/>
            </a:endParaRPr>
          </a:p>
        </p:txBody>
      </p:sp>
      <p:pic>
        <p:nvPicPr>
          <p:cNvPr id="2050" name="Picture 2" descr="ComEd_INT_page2-wht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-63500"/>
            <a:ext cx="9334500" cy="700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469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000" y="0"/>
            <a:ext cx="533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1917183-A658-49D2-B474-066AD1350912}" type="slidenum">
              <a:rPr lang="en-US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136" y="990600"/>
            <a:ext cx="84582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4"/>
            <a:endParaRPr lang="en-US"/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4"/>
            <a:endParaRPr 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0"/>
            <a:ext cx="7772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4695" name="Rectangle 7"/>
          <p:cNvSpPr>
            <a:spLocks noChangeArrowheads="1"/>
          </p:cNvSpPr>
          <p:nvPr userDrawn="1"/>
        </p:nvSpPr>
        <p:spPr bwMode="auto">
          <a:xfrm>
            <a:off x="-114300" y="302895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4484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Franklin Gothic Demi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lac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lac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lac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lac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lac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lac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lac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 Black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6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6286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400">
          <a:solidFill>
            <a:schemeClr val="tx1"/>
          </a:solidFill>
          <a:latin typeface="Franklin Gothic Book" pitchFamily="34" charset="0"/>
        </a:defRPr>
      </a:lvl2pPr>
      <a:lvl3pPr marL="917575" indent="-228600" algn="l" rtl="0" eaLnBrk="0" fontAlgn="base" hangingPunct="0">
        <a:spcBef>
          <a:spcPct val="20000"/>
        </a:spcBef>
        <a:spcAft>
          <a:spcPct val="0"/>
        </a:spcAft>
        <a:buFont typeface="Symbol" pitchFamily="18" charset="2"/>
        <a:buChar char=""/>
        <a:defRPr sz="1400">
          <a:solidFill>
            <a:schemeClr val="tx1"/>
          </a:solidFill>
          <a:latin typeface="Franklin Gothic Book" pitchFamily="34" charset="0"/>
        </a:defRPr>
      </a:lvl3pPr>
      <a:lvl4pPr marL="12065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>
          <a:solidFill>
            <a:schemeClr val="tx1"/>
          </a:solidFill>
          <a:latin typeface="Franklin Gothic Book" pitchFamily="34" charset="0"/>
        </a:defRPr>
      </a:lvl4pPr>
      <a:lvl5pPr marL="147955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Franklin Gothic Book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hyperlink" Target="https://rocksolidbizdevelopment.com/ourblog/planning-is-bringing-the-future-into-the-present-so-that-you-can-do-something-about-it-now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8.tif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Relationship Id="rId9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12" Type="http://schemas.openxmlformats.org/officeDocument/2006/relationships/chart" Target="../charts/char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chart" Target="../charts/chart4.xml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7.jpg"/><Relationship Id="rId4" Type="http://schemas.openxmlformats.org/officeDocument/2006/relationships/slideLayout" Target="../slideLayouts/slideLayout5.xml"/><Relationship Id="rId9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13" Type="http://schemas.openxmlformats.org/officeDocument/2006/relationships/image" Target="../media/image12.png"/><Relationship Id="rId3" Type="http://schemas.openxmlformats.org/officeDocument/2006/relationships/chart" Target="../charts/chart6.xml"/><Relationship Id="rId7" Type="http://schemas.openxmlformats.org/officeDocument/2006/relationships/chart" Target="../charts/chart10.xml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9.xml"/><Relationship Id="rId11" Type="http://schemas.openxmlformats.org/officeDocument/2006/relationships/image" Target="../media/image7.jpg"/><Relationship Id="rId5" Type="http://schemas.openxmlformats.org/officeDocument/2006/relationships/chart" Target="../charts/chart8.xml"/><Relationship Id="rId15" Type="http://schemas.openxmlformats.org/officeDocument/2006/relationships/image" Target="../media/image14.png"/><Relationship Id="rId10" Type="http://schemas.openxmlformats.org/officeDocument/2006/relationships/chart" Target="../charts/chart13.xml"/><Relationship Id="rId4" Type="http://schemas.openxmlformats.org/officeDocument/2006/relationships/chart" Target="../charts/chart7.xml"/><Relationship Id="rId9" Type="http://schemas.openxmlformats.org/officeDocument/2006/relationships/chart" Target="../charts/chart12.xml"/><Relationship Id="rId1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13" Type="http://schemas.openxmlformats.org/officeDocument/2006/relationships/chart" Target="../charts/chart24.xml"/><Relationship Id="rId3" Type="http://schemas.openxmlformats.org/officeDocument/2006/relationships/chart" Target="../charts/chart14.xml"/><Relationship Id="rId7" Type="http://schemas.openxmlformats.org/officeDocument/2006/relationships/chart" Target="../charts/chart18.xml"/><Relationship Id="rId12" Type="http://schemas.openxmlformats.org/officeDocument/2006/relationships/chart" Target="../charts/chart23.xml"/><Relationship Id="rId17" Type="http://schemas.openxmlformats.org/officeDocument/2006/relationships/image" Target="../media/image7.jpg"/><Relationship Id="rId2" Type="http://schemas.openxmlformats.org/officeDocument/2006/relationships/notesSlide" Target="../notesSlides/notesSlide6.xml"/><Relationship Id="rId16" Type="http://schemas.openxmlformats.org/officeDocument/2006/relationships/chart" Target="../charts/chart27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17.xml"/><Relationship Id="rId11" Type="http://schemas.openxmlformats.org/officeDocument/2006/relationships/chart" Target="../charts/chart22.xml"/><Relationship Id="rId5" Type="http://schemas.openxmlformats.org/officeDocument/2006/relationships/chart" Target="../charts/chart16.xml"/><Relationship Id="rId15" Type="http://schemas.openxmlformats.org/officeDocument/2006/relationships/chart" Target="../charts/chart26.xml"/><Relationship Id="rId10" Type="http://schemas.openxmlformats.org/officeDocument/2006/relationships/chart" Target="../charts/chart21.xml"/><Relationship Id="rId4" Type="http://schemas.openxmlformats.org/officeDocument/2006/relationships/chart" Target="../charts/chart15.xml"/><Relationship Id="rId9" Type="http://schemas.openxmlformats.org/officeDocument/2006/relationships/chart" Target="../charts/chart20.xml"/><Relationship Id="rId14" Type="http://schemas.openxmlformats.org/officeDocument/2006/relationships/chart" Target="../charts/char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7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chart" Target="../charts/chart3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30.xml"/><Relationship Id="rId5" Type="http://schemas.openxmlformats.org/officeDocument/2006/relationships/chart" Target="../charts/chart29.xml"/><Relationship Id="rId4" Type="http://schemas.openxmlformats.org/officeDocument/2006/relationships/chart" Target="../charts/char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B1C080-AD8C-4E38-B400-8096A4C1DC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3900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B1C080-AD8C-4E38-B400-8096A4C1DC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C742793-B8C8-4BDC-B3A8-1B3C8108AB6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en-US" sz="3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59C4528-FB52-4339-80E4-0A3C08321851}"/>
              </a:ext>
            </a:extLst>
          </p:cNvPr>
          <p:cNvCxnSpPr/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solidFill>
            <a:schemeClr val="accent1"/>
          </a:solidFill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00400" y="3894438"/>
            <a:ext cx="6065520" cy="1972962"/>
          </a:xfrm>
        </p:spPr>
        <p:txBody>
          <a:bodyPr/>
          <a:lstStyle/>
          <a:p>
            <a:pPr lv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4800" kern="12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AEG Chicago Forum</a:t>
            </a:r>
            <a:br>
              <a:rPr lang="en-US" sz="4800" kern="12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</a:br>
            <a:br>
              <a:rPr lang="en-US" sz="4800" kern="12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</a:br>
            <a:r>
              <a:rPr lang="en-US" sz="3200" kern="12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May 28, 2020</a:t>
            </a:r>
            <a:br>
              <a:rPr lang="en-US" sz="3200" kern="12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</a:br>
            <a:br>
              <a:rPr lang="en-US" sz="3200" kern="12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</a:br>
            <a:r>
              <a:rPr lang="en-US" sz="3200" kern="12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Joe Dominguez</a:t>
            </a:r>
            <a:br>
              <a:rPr lang="en-US" sz="3200" kern="12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</a:br>
            <a:r>
              <a:rPr lang="en-US" sz="3200" kern="12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CEO</a:t>
            </a:r>
            <a:br>
              <a:rPr lang="en-US" sz="4800" kern="1200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</a:br>
            <a:br>
              <a:rPr lang="en-US" sz="3200" b="1" dirty="0">
                <a:latin typeface="+mn-lt"/>
                <a:cs typeface="Arial" panose="020B0604020202020204" pitchFamily="34" charset="0"/>
              </a:rPr>
            </a:br>
            <a:br>
              <a:rPr lang="en-US" sz="3600" b="1" dirty="0">
                <a:latin typeface="+mn-lt"/>
                <a:cs typeface="Arial" panose="020B0604020202020204" pitchFamily="34" charset="0"/>
              </a:rPr>
            </a:br>
            <a:endParaRPr lang="en-US" sz="3200" b="1" dirty="0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205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8E0512E-274B-43D2-96F8-7D3AA5C4D9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4069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8E0512E-274B-43D2-96F8-7D3AA5C4D9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9B1E71-765E-436C-AF4A-D7F61BFA629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DE48B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199736-F38C-490D-AEB2-B2595299EE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76200"/>
            <a:ext cx="8229600" cy="609600"/>
          </a:xfrm>
        </p:spPr>
        <p:txBody>
          <a:bodyPr/>
          <a:lstStyle/>
          <a:p>
            <a:r>
              <a:rPr lang="en-US" sz="2000" b="1" dirty="0">
                <a:solidFill>
                  <a:schemeClr val="tx1"/>
                </a:solidFill>
                <a:latin typeface="+mn-lt"/>
              </a:rPr>
              <a:t>Problem Statement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498681-1DE4-4F4A-A110-D56E8524CF2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9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68B432-C390-4C16-9977-7EBEBC7A9E32}"/>
              </a:ext>
            </a:extLst>
          </p:cNvPr>
          <p:cNvSpPr/>
          <p:nvPr/>
        </p:nvSpPr>
        <p:spPr>
          <a:xfrm>
            <a:off x="439615" y="1447800"/>
            <a:ext cx="8018585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i="1" dirty="0"/>
              <a:t>Critical moments bring clouds or clarity. Never has the importance of clean air been more critical and the value of our goals more clear. </a:t>
            </a:r>
          </a:p>
          <a:p>
            <a:endParaRPr lang="en-US" dirty="0"/>
          </a:p>
          <a:p>
            <a:r>
              <a:rPr lang="en-US" sz="2000" b="1" dirty="0">
                <a:cs typeface="Calibri" panose="020F0502020204030204" pitchFamily="34" charset="0"/>
              </a:rPr>
              <a:t>To achieve Chicagoland's clean energy goals and post COVID-19 recovery, we must accelerate the pace at which we build we build clean energy infrastructure.</a:t>
            </a:r>
            <a:r>
              <a:rPr lang="en-US" sz="2000" dirty="0">
                <a:cs typeface="Calibri" panose="020F0502020204030204" pitchFamily="34" charset="0"/>
              </a:rPr>
              <a:t> We cannot put on the shelf for a more convenient time the need to improve our environment. Covid-19 has laid bare the urgency.  </a:t>
            </a:r>
          </a:p>
          <a:p>
            <a:endParaRPr lang="en-US" sz="2000" dirty="0">
              <a:cs typeface="Calibri" panose="020F0502020204030204" pitchFamily="34" charset="0"/>
            </a:endParaRPr>
          </a:p>
          <a:p>
            <a:r>
              <a:rPr lang="en-US" sz="2000" dirty="0">
                <a:cs typeface="Calibri" panose="020F0502020204030204" pitchFamily="34" charset="0"/>
              </a:rPr>
              <a:t>Let’s seize the moment, scale-up and realize NOW the benefits of a clean energy future and ensure a sustainable recovery from COVID-19.          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  <a:p>
            <a:r>
              <a:rPr lang="en-US" dirty="0"/>
              <a:t>   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7841732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38BF551-AE7F-486A-858A-FB0E19C04E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948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38BF551-AE7F-486A-858A-FB0E19C04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BA6F945-1B4E-414F-8901-B671D9C735D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0"/>
            <a:ext cx="533400" cy="609600"/>
          </a:xfrm>
        </p:spPr>
        <p:txBody>
          <a:bodyPr/>
          <a:lstStyle/>
          <a:p>
            <a:pPr algn="ctr"/>
            <a:fld id="{56E43DB1-2D29-4A00-9A3E-4E0A1F07E6CD}" type="slidenum">
              <a:rPr lang="en-US" smtClean="0"/>
              <a:pPr algn="ctr"/>
              <a:t>1</a:t>
            </a:fld>
            <a:endParaRPr lang="en-US" dirty="0"/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106CD3B4-9988-46D1-B173-2888AA05E630}"/>
              </a:ext>
            </a:extLst>
          </p:cNvPr>
          <p:cNvSpPr txBox="1"/>
          <p:nvPr/>
        </p:nvSpPr>
        <p:spPr>
          <a:xfrm>
            <a:off x="2612" y="1152465"/>
            <a:ext cx="5412801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/>
              <a:t>Planning is bringing the future into the present so that you can do something about it now.</a:t>
            </a:r>
          </a:p>
          <a:p>
            <a:pPr lvl="0"/>
            <a:endParaRPr lang="en-US" i="1" dirty="0"/>
          </a:p>
          <a:p>
            <a:pPr lvl="0"/>
            <a:r>
              <a:rPr lang="en-US" dirty="0"/>
              <a:t>We have the right plan in place: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Supporting our most vulnerable custom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orking to improve our environment and achieve clean energy goal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livering record levels of reliability and customer satisfac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viding good-paying jobs, creating new opportunities, investing in the best and most diverse supply chain in the industry and training the workforce of the future.</a:t>
            </a:r>
          </a:p>
          <a:p>
            <a:endParaRPr lang="en-US" i="1" dirty="0">
              <a:hlinkClick r:id="rId6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 b="1" i="1" dirty="0"/>
              <a:t>Critical moments bring clouds or clarity. Never has the importance of the grid been more critical and the value of our plan more clear. </a:t>
            </a:r>
          </a:p>
          <a:p>
            <a:endParaRPr lang="en-US" dirty="0"/>
          </a:p>
          <a:p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227285D0-2DDD-4777-B8A0-64BFB32FF0F0}"/>
              </a:ext>
            </a:extLst>
          </p:cNvPr>
          <p:cNvSpPr/>
          <p:nvPr/>
        </p:nvSpPr>
        <p:spPr>
          <a:xfrm>
            <a:off x="0" y="0"/>
            <a:ext cx="863908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cs typeface="Calibri" panose="020F0502020204030204" pitchFamily="34" charset="0"/>
              </a:rPr>
              <a:t>Staying the Course for a Clean Energy Future and Strong Recovery from COVID-19 	</a:t>
            </a:r>
            <a:endParaRPr lang="en-US" sz="2000" b="1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513D03F-7CD2-4C49-B707-2188E4BA2E18}"/>
              </a:ext>
            </a:extLst>
          </p:cNvPr>
          <p:cNvGrpSpPr/>
          <p:nvPr/>
        </p:nvGrpSpPr>
        <p:grpSpPr>
          <a:xfrm>
            <a:off x="5115159" y="591721"/>
            <a:ext cx="4057327" cy="5674557"/>
            <a:chOff x="8744272" y="497643"/>
            <a:chExt cx="4057327" cy="5674557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439FF61-C9C9-409A-B5F7-DD1F34ABB194}"/>
                </a:ext>
              </a:extLst>
            </p:cNvPr>
            <p:cNvGrpSpPr/>
            <p:nvPr/>
          </p:nvGrpSpPr>
          <p:grpSpPr>
            <a:xfrm>
              <a:off x="8744272" y="497643"/>
              <a:ext cx="4057327" cy="5674557"/>
              <a:chOff x="7499556" y="1752600"/>
              <a:chExt cx="3219128" cy="4488118"/>
            </a:xfrm>
          </p:grpSpPr>
          <p:pic>
            <p:nvPicPr>
              <p:cNvPr id="33" name="Picture 32" descr="A picture containing food&#10;&#10;Description automatically generated">
                <a:extLst>
                  <a:ext uri="{FF2B5EF4-FFF2-40B4-BE49-F238E27FC236}">
                    <a16:creationId xmlns:a16="http://schemas.microsoft.com/office/drawing/2014/main" id="{4606C90E-C05A-4B08-A53C-E1DB59099A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99556" y="1752600"/>
                <a:ext cx="3219128" cy="4488118"/>
              </a:xfrm>
              <a:prstGeom prst="rect">
                <a:avLst/>
              </a:prstGeom>
            </p:spPr>
          </p:pic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00E3E856-8259-4F6D-A3D6-6FD247F0B946}"/>
                  </a:ext>
                </a:extLst>
              </p:cNvPr>
              <p:cNvSpPr txBox="1"/>
              <p:nvPr/>
            </p:nvSpPr>
            <p:spPr>
              <a:xfrm>
                <a:off x="9221261" y="2671051"/>
                <a:ext cx="1324276" cy="5348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Lifting </a:t>
                </a:r>
                <a:r>
                  <a:rPr lang="en-US" sz="1200" b="1" kern="0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</a:t>
                </a: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 Communities </a:t>
                </a:r>
                <a:b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 Need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544E86E0-A6E0-4F7D-A3D2-AC9155D4DECB}"/>
                  </a:ext>
                </a:extLst>
              </p:cNvPr>
              <p:cNvSpPr txBox="1"/>
              <p:nvPr/>
            </p:nvSpPr>
            <p:spPr>
              <a:xfrm>
                <a:off x="7880749" y="2689150"/>
                <a:ext cx="1077426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lean and Affordable Power When We Need It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55B506F5-28B8-4C6A-B316-FA1A30FEEC58}"/>
                  </a:ext>
                </a:extLst>
              </p:cNvPr>
              <p:cNvSpPr txBox="1"/>
              <p:nvPr/>
            </p:nvSpPr>
            <p:spPr>
              <a:xfrm>
                <a:off x="9221261" y="3898791"/>
                <a:ext cx="107816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mart Grid Investments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231DC7F9-AB0B-483E-B31C-48A7DEE15F3D}"/>
                  </a:ext>
                </a:extLst>
              </p:cNvPr>
              <p:cNvSpPr txBox="1"/>
              <p:nvPr/>
            </p:nvSpPr>
            <p:spPr>
              <a:xfrm>
                <a:off x="7866834" y="3857138"/>
                <a:ext cx="1084623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utting Our Clean Energy To Work </a:t>
                </a: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C65B94C-78C7-4600-B4FD-D8FA2E0A978D}"/>
                </a:ext>
              </a:extLst>
            </p:cNvPr>
            <p:cNvSpPr txBox="1"/>
            <p:nvPr/>
          </p:nvSpPr>
          <p:spPr>
            <a:xfrm>
              <a:off x="10314043" y="5674626"/>
              <a:ext cx="100026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b="1" kern="0" cap="all" spc="100" dirty="0">
                  <a:latin typeface="Arial" panose="020B0604020202020204" pitchFamily="34" charset="0"/>
                  <a:cs typeface="Arial" panose="020B0604020202020204" pitchFamily="34" charset="0"/>
                </a:rPr>
                <a:t>INTEGRITY</a:t>
              </a:r>
              <a:endParaRPr kumimoji="0" lang="en-US" sz="800" b="1" i="0" u="none" strike="noStrike" kern="0" cap="all" spc="10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D53E22A-08F6-4AF1-822F-414AF105F5B3}"/>
                </a:ext>
              </a:extLst>
            </p:cNvPr>
            <p:cNvSpPr txBox="1"/>
            <p:nvPr/>
          </p:nvSpPr>
          <p:spPr>
            <a:xfrm>
              <a:off x="10193889" y="5232595"/>
              <a:ext cx="117968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all" spc="10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Culture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6C55D256-170B-4C82-BCA6-3729DBDC2993}"/>
                </a:ext>
              </a:extLst>
            </p:cNvPr>
            <p:cNvSpPr txBox="1"/>
            <p:nvPr/>
          </p:nvSpPr>
          <p:spPr>
            <a:xfrm>
              <a:off x="10176956" y="4784769"/>
              <a:ext cx="117968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all" spc="10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AFFORDABILITY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68CD389-070F-4EAB-BE0B-2357BF56715F}"/>
                </a:ext>
              </a:extLst>
            </p:cNvPr>
            <p:cNvSpPr txBox="1"/>
            <p:nvPr/>
          </p:nvSpPr>
          <p:spPr>
            <a:xfrm>
              <a:off x="10193889" y="4983347"/>
              <a:ext cx="1179687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all" spc="10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LIABILTY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152D0E7-8707-4E10-BA45-640F29CE85CC}"/>
                </a:ext>
              </a:extLst>
            </p:cNvPr>
            <p:cNvSpPr txBox="1"/>
            <p:nvPr/>
          </p:nvSpPr>
          <p:spPr>
            <a:xfrm>
              <a:off x="10266666" y="5434751"/>
              <a:ext cx="100026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b="1" kern="0" cap="all" spc="100" dirty="0">
                  <a:latin typeface="Arial" panose="020B0604020202020204" pitchFamily="34" charset="0"/>
                  <a:cs typeface="Arial" panose="020B0604020202020204" pitchFamily="34" charset="0"/>
                </a:rPr>
                <a:t>SAFETY</a:t>
              </a:r>
              <a:endParaRPr kumimoji="0" lang="en-US" sz="800" b="1" i="0" u="none" strike="noStrike" kern="0" cap="all" spc="10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88458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DE79342-EC01-4847-BC09-DFBBD19F0D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2409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DE79342-EC01-4847-BC09-DFBBD19F0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FB20DD8-D5EB-4B40-BD88-A9B4F8DE669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DE48B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C0D7B58-C94B-4905-AC1C-456C7ED4F510}"/>
              </a:ext>
            </a:extLst>
          </p:cNvPr>
          <p:cNvCxnSpPr/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C4C1A086-B997-4F23-A2D0-596A3E23AE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2910" y="6132221"/>
            <a:ext cx="2010289" cy="542778"/>
          </a:xfrm>
          <a:prstGeom prst="rect">
            <a:avLst/>
          </a:prstGeom>
        </p:spPr>
      </p:pic>
      <p:sp>
        <p:nvSpPr>
          <p:cNvPr id="12" name="Slide Number Placeholder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E43DB1-2D29-4A00-9A3E-4E0A1F07E6CD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55A491B2-C7E2-4495-9A50-A0B1AEA37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00" y="1"/>
            <a:ext cx="8775700" cy="646653"/>
          </a:xfrm>
        </p:spPr>
        <p:txBody>
          <a:bodyPr/>
          <a:lstStyle/>
          <a:p>
            <a:r>
              <a:rPr lang="en-US" sz="2000" b="1" dirty="0">
                <a:solidFill>
                  <a:schemeClr val="tx1"/>
                </a:solidFill>
                <a:latin typeface="+mn-lt"/>
                <a:ea typeface="Open Sans" panose="020B0606030504020204" pitchFamily="34" charset="0"/>
              </a:rPr>
              <a:t>Stay-At-Home Orders Show Initial Progress but COVID Demonstrates the Cost of Local Air Pollution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F81DA1B6-6416-41FE-B56F-3F86994B687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771" r="-107"/>
          <a:stretch/>
        </p:blipFill>
        <p:spPr>
          <a:xfrm>
            <a:off x="4822548" y="2931525"/>
            <a:ext cx="1819273" cy="3201655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02BDE55-EBA5-414F-BE52-93517607F985}"/>
              </a:ext>
            </a:extLst>
          </p:cNvPr>
          <p:cNvSpPr txBox="1"/>
          <p:nvPr/>
        </p:nvSpPr>
        <p:spPr>
          <a:xfrm>
            <a:off x="6827904" y="5425294"/>
            <a:ext cx="17047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ource: University of Chicago School of Public Health: Racial Inequality in the Distribution of COVID-19 Cases and Deaths in Chicago (2020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8BDD205-714D-455F-8981-4BCF476D101B}"/>
              </a:ext>
            </a:extLst>
          </p:cNvPr>
          <p:cNvSpPr txBox="1"/>
          <p:nvPr/>
        </p:nvSpPr>
        <p:spPr>
          <a:xfrm>
            <a:off x="1578887" y="5683074"/>
            <a:ext cx="10963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ource: Respiratory Health Association (2020)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A30349E9-7052-44D5-AABB-66F977B2514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2700" y="707603"/>
            <a:ext cx="7819970" cy="2022406"/>
          </a:xfrm>
          <a:prstGeom prst="rect">
            <a:avLst/>
          </a:prstGeom>
        </p:spPr>
      </p:pic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BB931E3C-3ABC-43B3-8DD7-D8CEACBECC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658" y="3654660"/>
            <a:ext cx="1905000" cy="990600"/>
          </a:xfrm>
        </p:spPr>
        <p:txBody>
          <a:bodyPr/>
          <a:lstStyle/>
          <a:p>
            <a:pPr marL="0" indent="0" algn="ctr">
              <a:buNone/>
            </a:pPr>
            <a:r>
              <a:rPr lang="en-US" sz="1200" b="1" dirty="0">
                <a:solidFill>
                  <a:schemeClr val="tx1"/>
                </a:solidFill>
                <a:ea typeface="Open Sans" panose="020B0606030504020204" pitchFamily="34" charset="0"/>
              </a:rPr>
              <a:t>Air Quality (left) and Map of COVID-19 Cases and Deaths by Zip Code (right)</a:t>
            </a:r>
          </a:p>
        </p:txBody>
      </p:sp>
      <p:pic>
        <p:nvPicPr>
          <p:cNvPr id="32" name="Picture 31" descr="Screen Shot 2020-04-16 at 11.17.50 AM.png">
            <a:extLst>
              <a:ext uri="{FF2B5EF4-FFF2-40B4-BE49-F238E27FC236}">
                <a16:creationId xmlns:a16="http://schemas.microsoft.com/office/drawing/2014/main" id="{8D963795-AAAE-4E5A-B555-B6AF61675D82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82" r="19996"/>
          <a:stretch/>
        </p:blipFill>
        <p:spPr>
          <a:xfrm>
            <a:off x="2641321" y="2880480"/>
            <a:ext cx="1910564" cy="325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6733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DE79342-EC01-4847-BC09-DFBBD19F0D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DE79342-EC01-4847-BC09-DFBBD19F0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FB20DD8-D5EB-4B40-BD88-A9B4F8DE669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DE48B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 bwMode="auto">
          <a:xfrm>
            <a:off x="7924800" y="2346158"/>
            <a:ext cx="0" cy="1645920"/>
          </a:xfrm>
          <a:prstGeom prst="straightConnector1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C0D7B58-C94B-4905-AC1C-456C7ED4F510}"/>
              </a:ext>
            </a:extLst>
          </p:cNvPr>
          <p:cNvCxnSpPr/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56" y="50801"/>
            <a:ext cx="8656093" cy="609600"/>
          </a:xfrm>
        </p:spPr>
        <p:txBody>
          <a:bodyPr/>
          <a:lstStyle/>
          <a:p>
            <a:r>
              <a:rPr lang="en-US" sz="2000" b="1" dirty="0">
                <a:solidFill>
                  <a:schemeClr val="tx1"/>
                </a:solidFill>
                <a:latin typeface="+mn-lt"/>
              </a:rPr>
              <a:t>Illinois’ Clean Energy Advantage Positions the State To Meet the 2025 Paris Goa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9307" y="762000"/>
            <a:ext cx="8656093" cy="1295400"/>
          </a:xfrm>
        </p:spPr>
        <p:txBody>
          <a:bodyPr/>
          <a:lstStyle/>
          <a:p>
            <a:pPr marL="347663" indent="-285750">
              <a:buFont typeface="Arial" panose="020B0604020202020204" pitchFamily="34" charset="0"/>
              <a:buChar char="•"/>
            </a:pPr>
            <a:r>
              <a:rPr lang="en-US" sz="1600" dirty="0"/>
              <a:t>Illinois is currently at roughly 85% progress towards the 2025 Paris emission goals (a 26-28% reduction off-of 2005 emissions) and is on pace to achieve those reductions by 2025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8600" y="6019800"/>
            <a:ext cx="688201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US EIA</a:t>
            </a:r>
          </a:p>
          <a:p>
            <a:r>
              <a:rPr lang="en-US" sz="1200" dirty="0"/>
              <a:t>*Note: 2020 point is extrapolated from 2017 actual data and is adjusted for recent coal retirements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4C1A086-B997-4F23-A2D0-596A3E23AEB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2910" y="6132221"/>
            <a:ext cx="2010289" cy="542778"/>
          </a:xfrm>
          <a:prstGeom prst="rect">
            <a:avLst/>
          </a:prstGeom>
        </p:spPr>
      </p:pic>
      <p:sp>
        <p:nvSpPr>
          <p:cNvPr id="12" name="Slide Number Placeholder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E43DB1-2D29-4A00-9A3E-4E0A1F07E6CD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20" name="Chart 19"/>
          <p:cNvGraphicFramePr/>
          <p:nvPr>
            <p:extLst>
              <p:ext uri="{D42A27DB-BD31-4B8C-83A1-F6EECF244321}">
                <p14:modId xmlns:p14="http://schemas.microsoft.com/office/powerpoint/2010/main" val="3095042948"/>
              </p:ext>
            </p:extLst>
          </p:nvPr>
        </p:nvGraphicFramePr>
        <p:xfrm>
          <a:off x="380999" y="1600200"/>
          <a:ext cx="7482016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7679380" y="4061633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85%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750494" y="2314238"/>
            <a:ext cx="326705" cy="2013120"/>
            <a:chOff x="7750494" y="2314238"/>
            <a:chExt cx="326705" cy="2013120"/>
          </a:xfrm>
        </p:grpSpPr>
        <p:grpSp>
          <p:nvGrpSpPr>
            <p:cNvPr id="5" name="Group 4"/>
            <p:cNvGrpSpPr/>
            <p:nvPr/>
          </p:nvGrpSpPr>
          <p:grpSpPr>
            <a:xfrm>
              <a:off x="7750494" y="2314238"/>
              <a:ext cx="326705" cy="2013120"/>
              <a:chOff x="7750494" y="2314238"/>
              <a:chExt cx="326705" cy="2013120"/>
            </a:xfrm>
          </p:grpSpPr>
          <p:sp>
            <p:nvSpPr>
              <p:cNvPr id="24" name="Rectangle 23"/>
              <p:cNvSpPr/>
              <p:nvPr/>
            </p:nvSpPr>
            <p:spPr bwMode="auto">
              <a:xfrm>
                <a:off x="7756071" y="2314238"/>
                <a:ext cx="321128" cy="1724362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457200" indent="-403225" algn="ctr">
                  <a:buFont typeface="Arial" pitchFamily="34" charset="0"/>
                  <a:buChar char="•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 bwMode="auto">
              <a:xfrm>
                <a:off x="7750494" y="2346158"/>
                <a:ext cx="326705" cy="19812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457200" indent="-403225" algn="ctr">
                  <a:buFont typeface="Arial" pitchFamily="34" charset="0"/>
                  <a:buChar char="•"/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" name="Straight Arrow Connector 6"/>
            <p:cNvCxnSpPr>
              <a:stCxn id="23" idx="0"/>
            </p:cNvCxnSpPr>
            <p:nvPr/>
          </p:nvCxnSpPr>
          <p:spPr bwMode="auto">
            <a:xfrm>
              <a:off x="7913847" y="2346158"/>
              <a:ext cx="0" cy="164592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2606225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7ED0713-EAA8-4A0B-9B1B-E11BC2859F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526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7ED0713-EAA8-4A0B-9B1B-E11BC2859F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05623C1-283C-4DF0-8CCA-7350F1553E73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DE48B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3291904660"/>
              </p:ext>
            </p:extLst>
          </p:nvPr>
        </p:nvGraphicFramePr>
        <p:xfrm>
          <a:off x="76200" y="1992059"/>
          <a:ext cx="2590799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hart 16"/>
          <p:cNvGraphicFramePr/>
          <p:nvPr>
            <p:extLst>
              <p:ext uri="{D42A27DB-BD31-4B8C-83A1-F6EECF244321}">
                <p14:modId xmlns:p14="http://schemas.microsoft.com/office/powerpoint/2010/main" val="458765747"/>
              </p:ext>
            </p:extLst>
          </p:nvPr>
        </p:nvGraphicFramePr>
        <p:xfrm>
          <a:off x="76200" y="1992059"/>
          <a:ext cx="2590799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C0D7B58-C94B-4905-AC1C-456C7ED4F510}"/>
              </a:ext>
            </a:extLst>
          </p:cNvPr>
          <p:cNvCxnSpPr/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787" y="76200"/>
            <a:ext cx="8865613" cy="609600"/>
          </a:xfrm>
        </p:spPr>
        <p:txBody>
          <a:bodyPr/>
          <a:lstStyle/>
          <a:p>
            <a:r>
              <a:rPr lang="en-US" sz="2000" b="1" dirty="0">
                <a:solidFill>
                  <a:schemeClr val="tx1"/>
                </a:solidFill>
                <a:latin typeface="+mn-lt"/>
              </a:rPr>
              <a:t>Premature Clean Energy Retirements Would Crater Compli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9307" y="801941"/>
            <a:ext cx="8656093" cy="1289434"/>
          </a:xfrm>
        </p:spPr>
        <p:txBody>
          <a:bodyPr/>
          <a:lstStyle/>
          <a:p>
            <a:pPr marL="347663" indent="-285750">
              <a:buFont typeface="Arial" panose="020B0604020202020204" pitchFamily="34" charset="0"/>
              <a:buChar char="•"/>
            </a:pPr>
            <a:r>
              <a:rPr lang="en-US" sz="1600" dirty="0"/>
              <a:t>If all the non-FEJA clean energy plants in Illinois retire, the amount of hourly load matched with zero-emission generation drops from 92% to 19%, and roughly 66 TWH of zero-emission generation would be replaced by fossil generation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4C1A086-B997-4F23-A2D0-596A3E23AEB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2910" y="6132221"/>
            <a:ext cx="2010289" cy="542778"/>
          </a:xfrm>
          <a:prstGeom prst="rect">
            <a:avLst/>
          </a:prstGeom>
        </p:spPr>
      </p:pic>
      <p:sp>
        <p:nvSpPr>
          <p:cNvPr id="12" name="Slide Number Placeholder 11"/>
          <p:cNvSpPr>
            <a:spLocks noGrp="1"/>
          </p:cNvSpPr>
          <p:nvPr>
            <p:ph type="sldNum" sz="quarter" idx="10"/>
          </p:nvPr>
        </p:nvSpPr>
        <p:spPr>
          <a:xfrm>
            <a:off x="8763000" y="0"/>
            <a:ext cx="533400" cy="6096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E43DB1-2D29-4A00-9A3E-4E0A1F07E6CD}" type="slidenum">
              <a:rPr kumimoji="0" lang="en-US" sz="1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3692541035"/>
              </p:ext>
            </p:extLst>
          </p:nvPr>
        </p:nvGraphicFramePr>
        <p:xfrm>
          <a:off x="2702166" y="1992059"/>
          <a:ext cx="5723377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233907" y="6265110"/>
            <a:ext cx="64299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Note: 2020 point is extrapolated from 2017 actual data adjusted for recent coal retirements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replacement generation emissions are estimated to be 0.6 mt/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wh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474415" y="4473711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5%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8538908" y="2737590"/>
            <a:ext cx="326705" cy="2013120"/>
            <a:chOff x="7750494" y="2314238"/>
            <a:chExt cx="326705" cy="2013120"/>
          </a:xfrm>
        </p:grpSpPr>
        <p:grpSp>
          <p:nvGrpSpPr>
            <p:cNvPr id="27" name="Group 26"/>
            <p:cNvGrpSpPr/>
            <p:nvPr/>
          </p:nvGrpSpPr>
          <p:grpSpPr>
            <a:xfrm>
              <a:off x="7750494" y="2314238"/>
              <a:ext cx="326705" cy="2013120"/>
              <a:chOff x="7750494" y="2314238"/>
              <a:chExt cx="326705" cy="2013120"/>
            </a:xfrm>
          </p:grpSpPr>
          <p:sp>
            <p:nvSpPr>
              <p:cNvPr id="29" name="Rectangle 28"/>
              <p:cNvSpPr/>
              <p:nvPr/>
            </p:nvSpPr>
            <p:spPr bwMode="auto">
              <a:xfrm>
                <a:off x="7756071" y="2314238"/>
                <a:ext cx="321128" cy="1724362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chemeClr val="bg1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457200" marR="0" lvl="0" indent="-403225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 bwMode="auto">
              <a:xfrm>
                <a:off x="7750494" y="2346158"/>
                <a:ext cx="326705" cy="1981200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457200" marR="0" lvl="0" indent="-403225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itchFamily="34" charset="0"/>
                  <a:buChar char="•"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28" name="Straight Arrow Connector 27"/>
            <p:cNvCxnSpPr>
              <a:stCxn id="30" idx="0"/>
            </p:cNvCxnSpPr>
            <p:nvPr/>
          </p:nvCxnSpPr>
          <p:spPr bwMode="auto">
            <a:xfrm>
              <a:off x="7913847" y="2346158"/>
              <a:ext cx="0" cy="164592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aphicFrame>
        <p:nvGraphicFramePr>
          <p:cNvPr id="18" name="Chart 17"/>
          <p:cNvGraphicFramePr/>
          <p:nvPr>
            <p:extLst>
              <p:ext uri="{D42A27DB-BD31-4B8C-83A1-F6EECF244321}">
                <p14:modId xmlns:p14="http://schemas.microsoft.com/office/powerpoint/2010/main" val="4237978146"/>
              </p:ext>
            </p:extLst>
          </p:nvPr>
        </p:nvGraphicFramePr>
        <p:xfrm>
          <a:off x="2702166" y="1992059"/>
          <a:ext cx="5723377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19" name="Group 18"/>
          <p:cNvGrpSpPr/>
          <p:nvPr/>
        </p:nvGrpSpPr>
        <p:grpSpPr>
          <a:xfrm>
            <a:off x="8507377" y="2769510"/>
            <a:ext cx="361872" cy="1981200"/>
            <a:chOff x="8339516" y="2758352"/>
            <a:chExt cx="361872" cy="1981200"/>
          </a:xfrm>
        </p:grpSpPr>
        <p:sp>
          <p:nvSpPr>
            <p:cNvPr id="20" name="Rectangle 19"/>
            <p:cNvSpPr/>
            <p:nvPr/>
          </p:nvSpPr>
          <p:spPr bwMode="auto">
            <a:xfrm>
              <a:off x="8339516" y="2758352"/>
              <a:ext cx="361871" cy="365848"/>
            </a:xfrm>
            <a:prstGeom prst="rect">
              <a:avLst/>
            </a:prstGeom>
            <a:solidFill>
              <a:srgbClr val="FDE48B"/>
            </a:solidFill>
            <a:ln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457200" marR="0" lvl="0" indent="-403225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1" name="Straight Arrow Connector 20"/>
            <p:cNvCxnSpPr/>
            <p:nvPr/>
          </p:nvCxnSpPr>
          <p:spPr bwMode="auto">
            <a:xfrm>
              <a:off x="8534400" y="2758440"/>
              <a:ext cx="0" cy="365760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22" name="Rectangle 21"/>
            <p:cNvSpPr/>
            <p:nvPr/>
          </p:nvSpPr>
          <p:spPr bwMode="auto">
            <a:xfrm>
              <a:off x="8374683" y="2758352"/>
              <a:ext cx="326705" cy="1981200"/>
            </a:xfrm>
            <a:prstGeom prst="rect">
              <a:avLst/>
            </a:prstGeom>
            <a:noFill/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457200" marR="0" lvl="0" indent="-403225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8460710" y="2508511"/>
            <a:ext cx="4908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%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1600200" y="3657600"/>
            <a:ext cx="533400" cy="2057400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5397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397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5397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2%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1600199" y="5105400"/>
            <a:ext cx="533401" cy="609599"/>
          </a:xfrm>
          <a:prstGeom prst="rect">
            <a:avLst/>
          </a:prstGeom>
          <a:solidFill>
            <a:srgbClr val="FDE48B"/>
          </a:solidFill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5397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%</a:t>
            </a:r>
          </a:p>
        </p:txBody>
      </p:sp>
    </p:spTree>
    <p:extLst>
      <p:ext uri="{BB962C8B-B14F-4D97-AF65-F5344CB8AC3E}">
        <p14:creationId xmlns:p14="http://schemas.microsoft.com/office/powerpoint/2010/main" val="806219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7" grpId="0">
        <p:bldAsOne/>
      </p:bldGraphic>
      <p:bldP spid="24" grpId="0"/>
      <p:bldGraphic spid="18" grpId="0">
        <p:bldAsOne/>
      </p:bldGraphic>
      <p:bldP spid="25" grpId="0"/>
      <p:bldP spid="5" grpId="0" animBg="1"/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Chart 38"/>
          <p:cNvGraphicFramePr/>
          <p:nvPr/>
        </p:nvGraphicFramePr>
        <p:xfrm>
          <a:off x="4497038" y="1642813"/>
          <a:ext cx="4543746" cy="4574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8" name="Chart 37"/>
          <p:cNvGraphicFramePr/>
          <p:nvPr/>
        </p:nvGraphicFramePr>
        <p:xfrm>
          <a:off x="4497038" y="1642813"/>
          <a:ext cx="4543746" cy="4574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7" name="Chart 36"/>
          <p:cNvGraphicFramePr/>
          <p:nvPr/>
        </p:nvGraphicFramePr>
        <p:xfrm>
          <a:off x="4497038" y="1642813"/>
          <a:ext cx="4543746" cy="4574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4" name="Chart 23"/>
          <p:cNvGraphicFramePr/>
          <p:nvPr/>
        </p:nvGraphicFramePr>
        <p:xfrm>
          <a:off x="4497038" y="1642813"/>
          <a:ext cx="4543746" cy="4574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4" name="Chart 33"/>
          <p:cNvGraphicFramePr/>
          <p:nvPr/>
        </p:nvGraphicFramePr>
        <p:xfrm>
          <a:off x="63370" y="1541909"/>
          <a:ext cx="4543746" cy="4574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3" name="Chart 32"/>
          <p:cNvGraphicFramePr/>
          <p:nvPr/>
        </p:nvGraphicFramePr>
        <p:xfrm>
          <a:off x="63370" y="1541909"/>
          <a:ext cx="4543746" cy="4574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8" name="Chart 27"/>
          <p:cNvGraphicFramePr/>
          <p:nvPr/>
        </p:nvGraphicFramePr>
        <p:xfrm>
          <a:off x="63370" y="1541909"/>
          <a:ext cx="4543746" cy="4574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22" name="Chart 21"/>
          <p:cNvGraphicFramePr/>
          <p:nvPr/>
        </p:nvGraphicFramePr>
        <p:xfrm>
          <a:off x="63370" y="1541909"/>
          <a:ext cx="4543746" cy="4574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BC1CC85-F7BA-43BD-AFB0-4513946A6546}"/>
              </a:ext>
            </a:extLst>
          </p:cNvPr>
          <p:cNvCxnSpPr/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454" y="0"/>
            <a:ext cx="7896545" cy="762000"/>
          </a:xfrm>
        </p:spPr>
        <p:txBody>
          <a:bodyPr/>
          <a:lstStyle/>
          <a:p>
            <a:r>
              <a:rPr lang="en-US" sz="2400" b="1" dirty="0">
                <a:solidFill>
                  <a:schemeClr val="tx1"/>
                </a:solidFill>
                <a:latin typeface="+mn-lt"/>
              </a:rPr>
              <a:t>ComEd Zone Hourly Energy Supply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63538" y="762000"/>
            <a:ext cx="8521155" cy="10668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Seasonal variation of existing wind and load results in exports of clean generation from ComEd in non-summer months today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D132E60-C065-43BB-A66E-79245B9DB33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855" y="6221389"/>
            <a:ext cx="2010289" cy="542778"/>
          </a:xfrm>
          <a:prstGeom prst="rect">
            <a:avLst/>
          </a:prstGeom>
        </p:spPr>
      </p:pic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72232F0-EFE6-47DE-B554-0936DA480238}"/>
              </a:ext>
            </a:extLst>
          </p:cNvPr>
          <p:cNvCxnSpPr/>
          <p:nvPr/>
        </p:nvCxnSpPr>
        <p:spPr bwMode="auto">
          <a:xfrm flipH="1">
            <a:off x="3009924" y="2713485"/>
            <a:ext cx="812433" cy="1454861"/>
          </a:xfrm>
          <a:prstGeom prst="straightConnector1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51A853E7-7317-4320-87A8-76A65987FBF8}"/>
              </a:ext>
            </a:extLst>
          </p:cNvPr>
          <p:cNvCxnSpPr/>
          <p:nvPr/>
        </p:nvCxnSpPr>
        <p:spPr bwMode="auto">
          <a:xfrm flipH="1">
            <a:off x="3145021" y="2713485"/>
            <a:ext cx="529603" cy="1454861"/>
          </a:xfrm>
          <a:prstGeom prst="straightConnector1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9E430B6-F200-49C0-B896-9BCFE11C52CC}"/>
              </a:ext>
            </a:extLst>
          </p:cNvPr>
          <p:cNvCxnSpPr/>
          <p:nvPr/>
        </p:nvCxnSpPr>
        <p:spPr bwMode="auto">
          <a:xfrm flipH="1">
            <a:off x="3145021" y="2764972"/>
            <a:ext cx="677336" cy="1403374"/>
          </a:xfrm>
          <a:prstGeom prst="straightConnector1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8" name="Slide Number Placeholder 2">
            <a:extLst>
              <a:ext uri="{FF2B5EF4-FFF2-40B4-BE49-F238E27FC236}">
                <a16:creationId xmlns:a16="http://schemas.microsoft.com/office/drawing/2014/main" id="{1EE3DA19-84EB-4F97-8879-6444C3A70F35}"/>
              </a:ext>
            </a:extLst>
          </p:cNvPr>
          <p:cNvSpPr txBox="1">
            <a:spLocks/>
          </p:cNvSpPr>
          <p:nvPr/>
        </p:nvSpPr>
        <p:spPr>
          <a:xfrm>
            <a:off x="8615363" y="0"/>
            <a:ext cx="533400" cy="609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53F0D03-3F0F-4A76-ABE5-390F4C123033}"/>
              </a:ext>
            </a:extLst>
          </p:cNvPr>
          <p:cNvSpPr/>
          <p:nvPr/>
        </p:nvSpPr>
        <p:spPr>
          <a:xfrm>
            <a:off x="8673222" y="93833"/>
            <a:ext cx="4425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prstClr val="white"/>
                </a:solidFill>
                <a:latin typeface="Arial"/>
              </a:rPr>
              <a:t>5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2833061" y="1045922"/>
            <a:ext cx="2191241" cy="2324786"/>
            <a:chOff x="2833061" y="1045922"/>
            <a:chExt cx="2191241" cy="2324786"/>
          </a:xfrm>
        </p:grpSpPr>
        <p:grpSp>
          <p:nvGrpSpPr>
            <p:cNvPr id="20" name="Group 19"/>
            <p:cNvGrpSpPr/>
            <p:nvPr/>
          </p:nvGrpSpPr>
          <p:grpSpPr>
            <a:xfrm>
              <a:off x="2833061" y="1045922"/>
              <a:ext cx="2191241" cy="1969372"/>
              <a:chOff x="2865728" y="869858"/>
              <a:chExt cx="2191241" cy="1969372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63470BBC-F41D-4DDD-9DE0-C687DB194C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2865728" y="869858"/>
                <a:ext cx="2191241" cy="1969372"/>
              </a:xfrm>
              <a:prstGeom prst="rect">
                <a:avLst/>
              </a:prstGeom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707709A-0115-446A-AD06-A98E9EC8C83B}"/>
                  </a:ext>
                </a:extLst>
              </p:cNvPr>
              <p:cNvSpPr txBox="1"/>
              <p:nvPr/>
            </p:nvSpPr>
            <p:spPr>
              <a:xfrm>
                <a:off x="3007140" y="1548865"/>
                <a:ext cx="1034576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Wind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utput 2,600 MW</a:t>
                </a:r>
              </a:p>
            </p:txBody>
          </p:sp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9C963157-F04D-4B7E-BE48-32FEE32C7D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3961610" y="1391710"/>
                <a:ext cx="806720" cy="925669"/>
              </a:xfrm>
              <a:prstGeom prst="rect">
                <a:avLst/>
              </a:prstGeom>
            </p:spPr>
          </p:pic>
        </p:grpSp>
        <p:cxnSp>
          <p:nvCxnSpPr>
            <p:cNvPr id="7" name="Straight Arrow Connector 6"/>
            <p:cNvCxnSpPr/>
            <p:nvPr/>
          </p:nvCxnSpPr>
          <p:spPr bwMode="auto">
            <a:xfrm flipH="1">
              <a:off x="3496498" y="2959580"/>
              <a:ext cx="160240" cy="411128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29" name="Group 28"/>
          <p:cNvGrpSpPr/>
          <p:nvPr/>
        </p:nvGrpSpPr>
        <p:grpSpPr>
          <a:xfrm>
            <a:off x="6145427" y="838275"/>
            <a:ext cx="2801309" cy="2901703"/>
            <a:chOff x="6145427" y="838275"/>
            <a:chExt cx="2801309" cy="2901703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668A9A12-96A4-41FC-BF29-E2D0D88D7B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802381" y="838275"/>
              <a:ext cx="2144355" cy="1969372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CFD33A0-EE74-4B61-8E1F-FA8023D129B6}"/>
                </a:ext>
              </a:extLst>
            </p:cNvPr>
            <p:cNvSpPr txBox="1"/>
            <p:nvPr/>
          </p:nvSpPr>
          <p:spPr>
            <a:xfrm>
              <a:off x="6995855" y="1489068"/>
              <a:ext cx="87436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ind Output 35 MW</a:t>
              </a:r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0AEAD77E-DF6F-4BA7-AFBB-7E0F6447C1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867634" y="1541909"/>
              <a:ext cx="747729" cy="627606"/>
            </a:xfrm>
            <a:prstGeom prst="rect">
              <a:avLst/>
            </a:prstGeom>
          </p:spPr>
        </p:pic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C9E823C0-4663-4C38-AA44-997B9502CB05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6145427" y="2598803"/>
              <a:ext cx="1049700" cy="1141175"/>
            </a:xfrm>
            <a:prstGeom prst="straightConnector1">
              <a:avLst/>
            </a:prstGeom>
            <a:ln w="28575">
              <a:headEnd type="none" w="med" len="med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36" name="Group 35"/>
          <p:cNvGrpSpPr/>
          <p:nvPr/>
        </p:nvGrpSpPr>
        <p:grpSpPr>
          <a:xfrm>
            <a:off x="1606378" y="3930165"/>
            <a:ext cx="2473474" cy="2212313"/>
            <a:chOff x="3039580" y="3930166"/>
            <a:chExt cx="2306779" cy="2041355"/>
          </a:xfrm>
        </p:grpSpPr>
        <p:sp>
          <p:nvSpPr>
            <p:cNvPr id="40" name="Oval 39"/>
            <p:cNvSpPr/>
            <p:nvPr/>
          </p:nvSpPr>
          <p:spPr bwMode="auto">
            <a:xfrm>
              <a:off x="3379808" y="4100261"/>
              <a:ext cx="1966551" cy="187126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342900" marR="0" lvl="0" indent="-302419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98C30391-A2E5-440B-B8A1-FF2A335FD6E8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3039580" y="3930166"/>
              <a:ext cx="531637" cy="499447"/>
            </a:xfrm>
            <a:prstGeom prst="straightConnector1">
              <a:avLst/>
            </a:prstGeom>
            <a:noFill/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B7B7B42D-2541-4A24-B452-D52509BCF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324764" y="4653996"/>
              <a:ext cx="933341" cy="714103"/>
            </a:xfrm>
            <a:prstGeom prst="rect">
              <a:avLst/>
            </a:prstGeom>
          </p:spPr>
        </p:pic>
        <p:sp>
          <p:nvSpPr>
            <p:cNvPr id="43" name="TextBox 42"/>
            <p:cNvSpPr txBox="1"/>
            <p:nvPr/>
          </p:nvSpPr>
          <p:spPr>
            <a:xfrm>
              <a:off x="3494411" y="4657395"/>
              <a:ext cx="928538" cy="6957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ssil 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 Grid 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abi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07413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8" grpId="0">
        <p:bldAsOne/>
      </p:bldGraphic>
      <p:bldGraphic spid="37" grpId="0">
        <p:bldAsOne/>
      </p:bldGraphic>
      <p:bldGraphic spid="24" grpId="0">
        <p:bldAsOne/>
      </p:bldGraphic>
      <p:bldGraphic spid="33" grpId="0">
        <p:bldAsOne/>
      </p:bldGraphic>
      <p:bldGraphic spid="28" grpId="0">
        <p:bldAsOne/>
      </p:bldGraphic>
      <p:bldGraphic spid="22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4BC23761-72FE-4B0B-820F-CA5E619017AC}"/>
              </a:ext>
            </a:extLst>
          </p:cNvPr>
          <p:cNvGraphicFramePr/>
          <p:nvPr/>
        </p:nvGraphicFramePr>
        <p:xfrm>
          <a:off x="4347326" y="1842972"/>
          <a:ext cx="4743680" cy="4578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23DB6695-9C0C-4F23-AE26-FD8731C8FB0D}"/>
              </a:ext>
            </a:extLst>
          </p:cNvPr>
          <p:cNvGraphicFramePr/>
          <p:nvPr/>
        </p:nvGraphicFramePr>
        <p:xfrm>
          <a:off x="0" y="1838789"/>
          <a:ext cx="4553639" cy="4578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4BC23761-72FE-4B0B-820F-CA5E619017AC}"/>
              </a:ext>
            </a:extLst>
          </p:cNvPr>
          <p:cNvGraphicFramePr/>
          <p:nvPr/>
        </p:nvGraphicFramePr>
        <p:xfrm>
          <a:off x="4347326" y="1842972"/>
          <a:ext cx="4743680" cy="4578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23DB6695-9C0C-4F23-AE26-FD8731C8FB0D}"/>
              </a:ext>
            </a:extLst>
          </p:cNvPr>
          <p:cNvGraphicFramePr/>
          <p:nvPr/>
        </p:nvGraphicFramePr>
        <p:xfrm>
          <a:off x="0" y="1838789"/>
          <a:ext cx="4553639" cy="4578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4BC23761-72FE-4B0B-820F-CA5E619017AC}"/>
              </a:ext>
            </a:extLst>
          </p:cNvPr>
          <p:cNvGraphicFramePr/>
          <p:nvPr/>
        </p:nvGraphicFramePr>
        <p:xfrm>
          <a:off x="4347326" y="1842972"/>
          <a:ext cx="4743680" cy="4578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23DB6695-9C0C-4F23-AE26-FD8731C8FB0D}"/>
              </a:ext>
            </a:extLst>
          </p:cNvPr>
          <p:cNvGraphicFramePr/>
          <p:nvPr/>
        </p:nvGraphicFramePr>
        <p:xfrm>
          <a:off x="0" y="1838789"/>
          <a:ext cx="4553639" cy="4578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4BC23761-72FE-4B0B-820F-CA5E619017AC}"/>
              </a:ext>
            </a:extLst>
          </p:cNvPr>
          <p:cNvGraphicFramePr/>
          <p:nvPr/>
        </p:nvGraphicFramePr>
        <p:xfrm>
          <a:off x="4347326" y="1842972"/>
          <a:ext cx="4743680" cy="4578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23DB6695-9C0C-4F23-AE26-FD8731C8FB0D}"/>
              </a:ext>
            </a:extLst>
          </p:cNvPr>
          <p:cNvGraphicFramePr/>
          <p:nvPr/>
        </p:nvGraphicFramePr>
        <p:xfrm>
          <a:off x="0" y="1838789"/>
          <a:ext cx="4553639" cy="4578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23DB6695-9C0C-4F23-AE26-FD8731C8FB0D}"/>
              </a:ext>
            </a:extLst>
          </p:cNvPr>
          <p:cNvGraphicFramePr/>
          <p:nvPr/>
        </p:nvGraphicFramePr>
        <p:xfrm>
          <a:off x="0" y="1838789"/>
          <a:ext cx="4553639" cy="4578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23DB6695-9C0C-4F23-AE26-FD8731C8FB0D}"/>
              </a:ext>
            </a:extLst>
          </p:cNvPr>
          <p:cNvGraphicFramePr/>
          <p:nvPr/>
        </p:nvGraphicFramePr>
        <p:xfrm>
          <a:off x="0" y="1838789"/>
          <a:ext cx="4553639" cy="4578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23DB6695-9C0C-4F23-AE26-FD8731C8FB0D}"/>
              </a:ext>
            </a:extLst>
          </p:cNvPr>
          <p:cNvGraphicFramePr/>
          <p:nvPr/>
        </p:nvGraphicFramePr>
        <p:xfrm>
          <a:off x="0" y="1838789"/>
          <a:ext cx="4553639" cy="4578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4BC23761-72FE-4B0B-820F-CA5E619017AC}"/>
              </a:ext>
            </a:extLst>
          </p:cNvPr>
          <p:cNvGraphicFramePr/>
          <p:nvPr/>
        </p:nvGraphicFramePr>
        <p:xfrm>
          <a:off x="4347326" y="1842972"/>
          <a:ext cx="4743680" cy="4578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4BC23761-72FE-4B0B-820F-CA5E619017AC}"/>
              </a:ext>
            </a:extLst>
          </p:cNvPr>
          <p:cNvGraphicFramePr/>
          <p:nvPr/>
        </p:nvGraphicFramePr>
        <p:xfrm>
          <a:off x="4347326" y="1842972"/>
          <a:ext cx="4743680" cy="4578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4BC23761-72FE-4B0B-820F-CA5E619017AC}"/>
              </a:ext>
            </a:extLst>
          </p:cNvPr>
          <p:cNvGraphicFramePr/>
          <p:nvPr/>
        </p:nvGraphicFramePr>
        <p:xfrm>
          <a:off x="4347326" y="1842972"/>
          <a:ext cx="4743680" cy="4578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7665FDC-F86E-4973-B17C-049F221C6A86}"/>
              </a:ext>
            </a:extLst>
          </p:cNvPr>
          <p:cNvCxnSpPr/>
          <p:nvPr/>
        </p:nvCxnSpPr>
        <p:spPr bwMode="auto">
          <a:xfrm>
            <a:off x="715261" y="1586028"/>
            <a:ext cx="439027" cy="915607"/>
          </a:xfrm>
          <a:prstGeom prst="line">
            <a:avLst/>
          </a:prstGeom>
          <a:noFill/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61" y="0"/>
            <a:ext cx="7982640" cy="762000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  <a:latin typeface="+mn-lt"/>
              </a:rPr>
              <a:t>ComEd Hourly Generation - 2030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D987261-164B-4F94-8ACD-D6A54313D8B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7280" y="6435674"/>
            <a:ext cx="1525872" cy="411985"/>
          </a:xfrm>
          <a:prstGeom prst="rect">
            <a:avLst/>
          </a:prstGeom>
        </p:spPr>
      </p:pic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18CE3F79-9867-4C56-AEAE-34DB256A8CDB}"/>
              </a:ext>
            </a:extLst>
          </p:cNvPr>
          <p:cNvSpPr txBox="1">
            <a:spLocks/>
          </p:cNvSpPr>
          <p:nvPr/>
        </p:nvSpPr>
        <p:spPr>
          <a:xfrm>
            <a:off x="8724900" y="140732"/>
            <a:ext cx="457200" cy="609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63538" y="762000"/>
            <a:ext cx="8521155" cy="12192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Assuming a load-ratio split of the new renewable energy, the excess zero-emission generation in ComEd would be as high as 17 GW in some hou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Existing net export capacity is approximately 6 GW.</a:t>
            </a:r>
          </a:p>
        </p:txBody>
      </p:sp>
    </p:spTree>
    <p:extLst>
      <p:ext uri="{BB962C8B-B14F-4D97-AF65-F5344CB8AC3E}">
        <p14:creationId xmlns:p14="http://schemas.microsoft.com/office/powerpoint/2010/main" val="3378753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7" grpId="0">
        <p:bldAsOne/>
      </p:bldGraphic>
      <p:bldGraphic spid="46" grpId="0">
        <p:bldAsOne/>
      </p:bldGraphic>
      <p:bldGraphic spid="45" grpId="0">
        <p:bldAsOne/>
      </p:bldGraphic>
      <p:bldGraphic spid="44" grpId="0">
        <p:bldAsOne/>
      </p:bldGraphic>
      <p:bldGraphic spid="43" grpId="0">
        <p:bldAsOne/>
      </p:bldGraphic>
      <p:bldGraphic spid="42" grpId="0">
        <p:bldAsOne/>
      </p:bldGraphic>
      <p:bldGraphic spid="39" grpId="0">
        <p:bldAsOne/>
      </p:bldGraphic>
      <p:bldGraphic spid="24" grpId="0">
        <p:bldAsOne/>
      </p:bldGraphic>
      <p:bldGraphic spid="37" grpId="0">
        <p:bldAsOne/>
      </p:bldGraphic>
      <p:bldGraphic spid="41" grpId="0">
        <p:bldAsOne/>
      </p:bldGraphic>
      <p:bldGraphic spid="26" grpId="0">
        <p:bldAsOne/>
      </p:bldGraphic>
      <p:bldGraphic spid="38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94A722A-D2D2-4C48-958E-A266BC500610}"/>
              </a:ext>
            </a:extLst>
          </p:cNvPr>
          <p:cNvCxnSpPr/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DBE14873-ED05-4B32-90B8-F9A86D4822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20" y="135284"/>
            <a:ext cx="8523514" cy="457200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  <a:latin typeface="+mn-lt"/>
              </a:rPr>
              <a:t>Transmission Cost Impacts of Legislative Proposals</a:t>
            </a:r>
          </a:p>
        </p:txBody>
      </p:sp>
      <p:pic>
        <p:nvPicPr>
          <p:cNvPr id="7" name="Pictur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39451"/>
            <a:ext cx="4695190" cy="407606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4501292" y="1787730"/>
          <a:ext cx="4465815" cy="18054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589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41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27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0824">
                <a:tc>
                  <a:txBody>
                    <a:bodyPr/>
                    <a:lstStyle/>
                    <a:p>
                      <a:r>
                        <a:rPr lang="en-US" sz="1400" dirty="0"/>
                        <a:t>Transmission </a:t>
                      </a:r>
                      <a:r>
                        <a:rPr lang="en-US" sz="1400" dirty="0" err="1"/>
                        <a:t>CapEx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dirty="0"/>
                        <a:t>($Billion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J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PathTo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8901">
                <a:tc>
                  <a:txBody>
                    <a:bodyPr/>
                    <a:lstStyle/>
                    <a:p>
                      <a:r>
                        <a:rPr lang="en-US" sz="1400"/>
                        <a:t>Local Overloa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$1.0 to $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0.8 to $1.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8901">
                <a:tc>
                  <a:txBody>
                    <a:bodyPr/>
                    <a:lstStyle/>
                    <a:p>
                      <a:r>
                        <a:rPr lang="en-US" sz="1400" dirty="0"/>
                        <a:t>Regional Overloa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$3.2 to $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1.7</a:t>
                      </a:r>
                      <a:r>
                        <a:rPr lang="en-US" sz="1400" baseline="0" dirty="0"/>
                        <a:t> to $2.2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9530">
                <a:tc>
                  <a:txBody>
                    <a:bodyPr/>
                    <a:lstStyle/>
                    <a:p>
                      <a:r>
                        <a:rPr lang="en-US" sz="140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$4.2 to $5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$2.5 to $3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14400" y="1312335"/>
            <a:ext cx="24507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ransmission Upgrad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F75D6D5-7A22-44A7-BDF6-3EFF111352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6100" y="6195844"/>
            <a:ext cx="1832490" cy="494772"/>
          </a:xfrm>
          <a:prstGeom prst="rect">
            <a:avLst/>
          </a:prstGeom>
        </p:spPr>
      </p:pic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DFB0C9A9-6F2D-4A3C-B0FC-9B6BC06932DC}"/>
              </a:ext>
            </a:extLst>
          </p:cNvPr>
          <p:cNvSpPr txBox="1">
            <a:spLocks/>
          </p:cNvSpPr>
          <p:nvPr/>
        </p:nvSpPr>
        <p:spPr>
          <a:xfrm>
            <a:off x="8752114" y="140732"/>
            <a:ext cx="429986" cy="609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DF443B-BDDA-4D14-BAD1-D890322A1D6A}"/>
              </a:ext>
            </a:extLst>
          </p:cNvPr>
          <p:cNvSpPr txBox="1"/>
          <p:nvPr/>
        </p:nvSpPr>
        <p:spPr>
          <a:xfrm>
            <a:off x="5144530" y="1312335"/>
            <a:ext cx="29162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New Transmission Costs</a:t>
            </a:r>
          </a:p>
        </p:txBody>
      </p:sp>
    </p:spTree>
    <p:extLst>
      <p:ext uri="{BB962C8B-B14F-4D97-AF65-F5344CB8AC3E}">
        <p14:creationId xmlns:p14="http://schemas.microsoft.com/office/powerpoint/2010/main" val="37831438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5B353BA-7EC8-47C5-B22B-A9695B0DA32E}"/>
              </a:ext>
            </a:extLst>
          </p:cNvPr>
          <p:cNvCxnSpPr/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cap="flat" cmpd="sng" algn="ctr">
            <a:solidFill>
              <a:srgbClr val="FB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" y="43425"/>
            <a:ext cx="8183755" cy="623033"/>
          </a:xfrm>
        </p:spPr>
        <p:txBody>
          <a:bodyPr/>
          <a:lstStyle/>
          <a:p>
            <a:r>
              <a:rPr lang="en-US" sz="1800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ordinating Electric and Transportation Sector Policies </a:t>
            </a:r>
            <a:br>
              <a:rPr lang="en-US" sz="1800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US" sz="1800" b="1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s Over $35 Billion in Value for Illinois Families and Businesses</a:t>
            </a:r>
          </a:p>
        </p:txBody>
      </p:sp>
      <p:sp>
        <p:nvSpPr>
          <p:cNvPr id="16" name="Slide Number Placeholder 2">
            <a:extLst>
              <a:ext uri="{FF2B5EF4-FFF2-40B4-BE49-F238E27FC236}">
                <a16:creationId xmlns:a16="http://schemas.microsoft.com/office/drawing/2014/main" id="{E9BD388A-32FC-4E33-B577-960745657B92}"/>
              </a:ext>
            </a:extLst>
          </p:cNvPr>
          <p:cNvSpPr txBox="1">
            <a:spLocks/>
          </p:cNvSpPr>
          <p:nvPr/>
        </p:nvSpPr>
        <p:spPr>
          <a:xfrm>
            <a:off x="8663709" y="140043"/>
            <a:ext cx="480291" cy="54424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prstClr val="white"/>
                </a:solidFill>
                <a:latin typeface="Arial"/>
              </a:rPr>
              <a:t>8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34174F8-78DB-422C-8E7C-AC59A2F58C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7600" y="6298795"/>
            <a:ext cx="1540261" cy="43088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E4142EC-3953-4945-B9A7-B49B7B0E57E0}"/>
              </a:ext>
            </a:extLst>
          </p:cNvPr>
          <p:cNvSpPr txBox="1"/>
          <p:nvPr/>
        </p:nvSpPr>
        <p:spPr>
          <a:xfrm>
            <a:off x="2345289" y="5929924"/>
            <a:ext cx="4135393" cy="338554"/>
          </a:xfrm>
          <a:prstGeom prst="rect">
            <a:avLst/>
          </a:prstGeom>
          <a:solidFill>
            <a:srgbClr val="C9DDFD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-1 in “Wallet Share” Benefit/</a:t>
            </a:r>
            <a:r>
              <a:rPr kumimoji="0" lang="en-US" sz="16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BF5184-E8C9-436C-B2BE-DC0EF42CABB2}"/>
              </a:ext>
            </a:extLst>
          </p:cNvPr>
          <p:cNvSpPr txBox="1"/>
          <p:nvPr/>
        </p:nvSpPr>
        <p:spPr>
          <a:xfrm>
            <a:off x="327480" y="4397585"/>
            <a:ext cx="8489040" cy="1384995"/>
          </a:xfrm>
          <a:prstGeom prst="rect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2.6 Billion in Electrification Investment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	       </a:t>
            </a: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$36.1 Billion in Benefi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ublic/Fleet Charging Station Interconnection	       - $2 Billion in Avoided Transmission Costs	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Charging Rebates				       - $3.6 Billon in Incremental Avoided C0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Public Transportation/School Bus Rebates		       - $6.5 Billion in Health Care Benefi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Low Income Incentives			       - $24 Billion in Fuel Sav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Beneficial Electrification Reba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E4805CE-40AF-46FA-A8F2-04A70CA0DAB6}"/>
              </a:ext>
            </a:extLst>
          </p:cNvPr>
          <p:cNvSpPr txBox="1"/>
          <p:nvPr/>
        </p:nvSpPr>
        <p:spPr>
          <a:xfrm>
            <a:off x="4091806" y="4074419"/>
            <a:ext cx="96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IELD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9FA3FEB-D8E7-42B3-86C4-4FBE1B2784A1}"/>
              </a:ext>
            </a:extLst>
          </p:cNvPr>
          <p:cNvCxnSpPr>
            <a:cxnSpLocks/>
          </p:cNvCxnSpPr>
          <p:nvPr/>
        </p:nvCxnSpPr>
        <p:spPr bwMode="auto">
          <a:xfrm>
            <a:off x="3874853" y="4565496"/>
            <a:ext cx="216953" cy="0"/>
          </a:xfrm>
          <a:prstGeom prst="straightConnector1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E737504-7A28-4778-8D54-3A995D344DE2}"/>
              </a:ext>
            </a:extLst>
          </p:cNvPr>
          <p:cNvCxnSpPr>
            <a:cxnSpLocks/>
          </p:cNvCxnSpPr>
          <p:nvPr/>
        </p:nvCxnSpPr>
        <p:spPr bwMode="auto">
          <a:xfrm>
            <a:off x="4988260" y="4551231"/>
            <a:ext cx="216953" cy="0"/>
          </a:xfrm>
          <a:prstGeom prst="straightConnector1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graphicFrame>
        <p:nvGraphicFramePr>
          <p:cNvPr id="19" name="Chart 18"/>
          <p:cNvGraphicFramePr/>
          <p:nvPr/>
        </p:nvGraphicFramePr>
        <p:xfrm>
          <a:off x="53976" y="914166"/>
          <a:ext cx="5668537" cy="33711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1" name="Chart 20"/>
          <p:cNvGraphicFramePr/>
          <p:nvPr/>
        </p:nvGraphicFramePr>
        <p:xfrm>
          <a:off x="53975" y="921121"/>
          <a:ext cx="5668537" cy="33711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2" name="Chart 21"/>
          <p:cNvGraphicFramePr/>
          <p:nvPr/>
        </p:nvGraphicFramePr>
        <p:xfrm>
          <a:off x="5722512" y="921121"/>
          <a:ext cx="2585708" cy="3055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/>
          <p:cNvGraphicFramePr/>
          <p:nvPr/>
        </p:nvGraphicFramePr>
        <p:xfrm>
          <a:off x="5722512" y="928076"/>
          <a:ext cx="2585708" cy="3055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6215477" y="3841529"/>
            <a:ext cx="11657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15% Light-Du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ic Vehicles)</a:t>
            </a:r>
          </a:p>
        </p:txBody>
      </p:sp>
    </p:spTree>
    <p:extLst>
      <p:ext uri="{BB962C8B-B14F-4D97-AF65-F5344CB8AC3E}">
        <p14:creationId xmlns:p14="http://schemas.microsoft.com/office/powerpoint/2010/main" val="4005843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0" grpId="0"/>
      <p:bldGraphic spid="21" grpId="0">
        <p:bldAsOne/>
      </p:bldGraphic>
      <p:bldGraphic spid="24" grpId="0">
        <p:bldAsOne/>
      </p:bldGraphic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TsdDTXLiDkWpojzzFm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TsdDTXLiDkWpojzzFm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HBu_ydWN.F31ikCOuW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YHhNqXzt0bpL1nDTTF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tF1YK0AJwdGWzavWuV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Pp73A024J_.KrAiYv5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asqU5.KJo34ECUA58S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G&amp;T Repor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omEd (Internal-White)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DE48B"/>
        </a:solidFill>
        <a:ln>
          <a:solidFill>
            <a:schemeClr val="bg1"/>
          </a:solidFill>
          <a:headEnd type="none" w="med" len="med"/>
          <a:tailEnd type="none" w="med" len="med"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457200" indent="-403225">
          <a:buFont typeface="Arial" pitchFamily="34" charset="0"/>
          <a:buChar char="•"/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omEd (Internal-White)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Ed (Internal-White)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Ed (Internal-White)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Ed (Internal-White)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Ed (Internal-White)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Ed (Internal-White)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Ed (Internal-White)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omEd (Internal-White)">
  <a:themeElements>
    <a:clrScheme name="ComEd (Internal-White)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ComEd (Internal-White)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ComEd (Internal-White)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mEd (Internal-White)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Ed (Internal-White)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Ed (Internal-White)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Ed (Internal-White)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Ed (Internal-White)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mEd (Internal-White)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66557B3AF8C74B8DE618047C50376E" ma:contentTypeVersion="13" ma:contentTypeDescription="Create a new document." ma:contentTypeScope="" ma:versionID="9ba4f84e302a3447395b34c68586e356">
  <xsd:schema xmlns:xsd="http://www.w3.org/2001/XMLSchema" xmlns:xs="http://www.w3.org/2001/XMLSchema" xmlns:p="http://schemas.microsoft.com/office/2006/metadata/properties" xmlns:ns3="e6a64da8-35a4-47da-a7e9-0a24873b617e" xmlns:ns4="43e8da28-d460-4264-b89a-65195a04c5a4" targetNamespace="http://schemas.microsoft.com/office/2006/metadata/properties" ma:root="true" ma:fieldsID="3182fdd24f76ce28790d0ab3eca93eb0" ns3:_="" ns4:_="">
    <xsd:import namespace="e6a64da8-35a4-47da-a7e9-0a24873b617e"/>
    <xsd:import namespace="43e8da28-d460-4264-b89a-65195a04c5a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a64da8-35a4-47da-a7e9-0a24873b61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e8da28-d460-4264-b89a-65195a04c5a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F18532-6634-4E88-A4E4-B9D9FACD84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a64da8-35a4-47da-a7e9-0a24873b617e"/>
    <ds:schemaRef ds:uri="43e8da28-d460-4264-b89a-65195a04c5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70F5BEF-A8B3-4BAB-B450-1991340AFA78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3e8da28-d460-4264-b89a-65195a04c5a4"/>
    <ds:schemaRef ds:uri="http://purl.org/dc/terms/"/>
    <ds:schemaRef ds:uri="e6a64da8-35a4-47da-a7e9-0a24873b617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24820F3-F8AB-40EB-807F-725707CCD11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125</TotalTime>
  <Words>1010</Words>
  <Application>Microsoft Office PowerPoint</Application>
  <PresentationFormat>On-screen Show (4:3)</PresentationFormat>
  <Paragraphs>195</Paragraphs>
  <Slides>10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Arial</vt:lpstr>
      <vt:lpstr>Arial Black</vt:lpstr>
      <vt:lpstr>Calibri</vt:lpstr>
      <vt:lpstr>Courier New</vt:lpstr>
      <vt:lpstr>Franklin Gothic Book</vt:lpstr>
      <vt:lpstr>Franklin Gothic Demi</vt:lpstr>
      <vt:lpstr>Symbol</vt:lpstr>
      <vt:lpstr>Times New Roman</vt:lpstr>
      <vt:lpstr>Wingdings</vt:lpstr>
      <vt:lpstr>SG&amp;T Report</vt:lpstr>
      <vt:lpstr>ComEd (Internal-White)</vt:lpstr>
      <vt:lpstr>think-cell Slide</vt:lpstr>
      <vt:lpstr>AEG Chicago Forum  May 28, 2020  Joe Dominguez CEO   </vt:lpstr>
      <vt:lpstr>PowerPoint Presentation</vt:lpstr>
      <vt:lpstr>Stay-At-Home Orders Show Initial Progress but COVID Demonstrates the Cost of Local Air Pollution</vt:lpstr>
      <vt:lpstr>Illinois’ Clean Energy Advantage Positions the State To Meet the 2025 Paris Goals</vt:lpstr>
      <vt:lpstr>Premature Clean Energy Retirements Would Crater Compliance</vt:lpstr>
      <vt:lpstr>ComEd Zone Hourly Energy Supply</vt:lpstr>
      <vt:lpstr>ComEd Hourly Generation - 2030</vt:lpstr>
      <vt:lpstr>Transmission Cost Impacts of Legislative Proposals</vt:lpstr>
      <vt:lpstr>Coordinating Electric and Transportation Sector Policies  Creates Over $35 Billion in Value for Illinois Families and Businesses</vt:lpstr>
      <vt:lpstr>Problem Statement</vt:lpstr>
    </vt:vector>
  </TitlesOfParts>
  <Company>Exelon Cor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mos, Fred Z.:(ComEd)</dc:creator>
  <cp:lastModifiedBy>Leichtman, Max D:(ComEd)</cp:lastModifiedBy>
  <cp:revision>1151</cp:revision>
  <cp:lastPrinted>2020-02-18T18:51:58Z</cp:lastPrinted>
  <dcterms:created xsi:type="dcterms:W3CDTF">2015-06-09T16:32:01Z</dcterms:created>
  <dcterms:modified xsi:type="dcterms:W3CDTF">2020-05-26T20:3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66557B3AF8C74B8DE618047C50376E</vt:lpwstr>
  </property>
</Properties>
</file>